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charts/chart1.xml" ContentType="application/vnd.openxmlformats-officedocument.drawingml.chart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  <p:sldMasterId id="2147483681" r:id="rId5"/>
    <p:sldMasterId id="2147483710" r:id="rId6"/>
    <p:sldMasterId id="2147483738" r:id="rId7"/>
  </p:sldMasterIdLst>
  <p:notesMasterIdLst>
    <p:notesMasterId r:id="rId16"/>
  </p:notesMasterIdLst>
  <p:sldIdLst>
    <p:sldId id="2147474134" r:id="rId8"/>
    <p:sldId id="2147483645" r:id="rId9"/>
    <p:sldId id="2147483641" r:id="rId10"/>
    <p:sldId id="269" r:id="rId11"/>
    <p:sldId id="257" r:id="rId12"/>
    <p:sldId id="260" r:id="rId13"/>
    <p:sldId id="2147483639" r:id="rId14"/>
    <p:sldId id="2147474220" r:id="rId15"/>
  </p:sldIdLst>
  <p:sldSz cx="12192000" cy="6858000"/>
  <p:notesSz cx="12192000" cy="6858000"/>
  <p:embeddedFontLst>
    <p:embeddedFont>
      <p:font typeface="Segoe UI" panose="020B0502040204020203" pitchFamily="34" charset="0"/>
      <p:regular r:id="rId17"/>
      <p:bold r:id="rId18"/>
      <p:italic r:id="rId19"/>
      <p:boldItalic r:id="rId20"/>
    </p:embeddedFont>
    <p:embeddedFont>
      <p:font typeface="Tahoma" panose="020B0604030504040204" pitchFamily="34" charset="0"/>
      <p:regular r:id="rId21"/>
      <p:bold r:id="rId22"/>
    </p:embeddedFont>
    <p:embeddedFont>
      <p:font typeface="Wingdings 2" panose="05020102010507070707" pitchFamily="18" charset="2"/>
      <p:regular r:id="rId23"/>
    </p:embeddedFont>
  </p:embeddedFontLst>
  <p:defaultTextStyle>
    <a:defPPr>
      <a:defRPr lang="en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68" userDrawn="1">
          <p15:clr>
            <a:srgbClr val="A4A3A4"/>
          </p15:clr>
        </p15:guide>
        <p15:guide id="2" pos="2448" userDrawn="1">
          <p15:clr>
            <a:srgbClr val="A4A3A4"/>
          </p15:clr>
        </p15:guide>
        <p15:guide id="3" orient="horz" pos="1797" userDrawn="1">
          <p15:clr>
            <a:srgbClr val="A4A3A4"/>
          </p15:clr>
        </p15:guide>
        <p15:guide id="4" pos="7287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160F19B-BCE7-FA65-B780-FB150244069D}" name="Vícena Ondřej" initials="VO" userId="S::ondrej.vicena@cez.cz::9253f806-63a8-4acc-908d-bb439635f30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3C751"/>
    <a:srgbClr val="2D2D2D"/>
    <a:srgbClr val="00C752"/>
    <a:srgbClr val="36373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704" autoAdjust="0"/>
    <p:restoredTop sz="94660"/>
  </p:normalViewPr>
  <p:slideViewPr>
    <p:cSldViewPr snapToGrid="0">
      <p:cViewPr varScale="1">
        <p:scale>
          <a:sx n="80" d="100"/>
          <a:sy n="80" d="100"/>
        </p:scale>
        <p:origin x="614" y="58"/>
      </p:cViewPr>
      <p:guideLst>
        <p:guide orient="horz" pos="3168"/>
        <p:guide pos="2448"/>
        <p:guide orient="horz" pos="1797"/>
        <p:guide pos="728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font" Target="fonts/font2.fntdata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font" Target="fonts/font5.fntdata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font" Target="fonts/font1.fntdata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4.fntdata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font" Target="fonts/font7.fntdata"/><Relationship Id="rId28" Type="http://schemas.microsoft.com/office/2016/11/relationships/changesInfo" Target="changesInfos/changesInfo1.xml"/><Relationship Id="rId10" Type="http://schemas.openxmlformats.org/officeDocument/2006/relationships/slide" Target="slides/slide3.xml"/><Relationship Id="rId19" Type="http://schemas.openxmlformats.org/officeDocument/2006/relationships/font" Target="fonts/font3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font" Target="fonts/font6.fntdata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ospíšil Petr" userId="e0d1ff76-39e2-4a11-aa1c-b5969de38ad4" providerId="ADAL" clId="{0B894EDB-5FAA-4D6D-9731-DC7585D29FA1}"/>
    <pc:docChg chg="delSld delMainMaster">
      <pc:chgData name="Pospíšil Petr" userId="e0d1ff76-39e2-4a11-aa1c-b5969de38ad4" providerId="ADAL" clId="{0B894EDB-5FAA-4D6D-9731-DC7585D29FA1}" dt="2025-04-09T06:43:49.344" v="1" actId="47"/>
      <pc:docMkLst>
        <pc:docMk/>
      </pc:docMkLst>
      <pc:sldChg chg="del">
        <pc:chgData name="Pospíšil Petr" userId="e0d1ff76-39e2-4a11-aa1c-b5969de38ad4" providerId="ADAL" clId="{0B894EDB-5FAA-4D6D-9731-DC7585D29FA1}" dt="2025-04-09T06:43:46.699" v="0" actId="47"/>
        <pc:sldMkLst>
          <pc:docMk/>
          <pc:sldMk cId="2346312724" sldId="256"/>
        </pc:sldMkLst>
      </pc:sldChg>
      <pc:sldChg chg="del">
        <pc:chgData name="Pospíšil Petr" userId="e0d1ff76-39e2-4a11-aa1c-b5969de38ad4" providerId="ADAL" clId="{0B894EDB-5FAA-4D6D-9731-DC7585D29FA1}" dt="2025-04-09T06:43:46.699" v="0" actId="47"/>
        <pc:sldMkLst>
          <pc:docMk/>
          <pc:sldMk cId="239037003" sldId="266"/>
        </pc:sldMkLst>
      </pc:sldChg>
      <pc:sldChg chg="del">
        <pc:chgData name="Pospíšil Petr" userId="e0d1ff76-39e2-4a11-aa1c-b5969de38ad4" providerId="ADAL" clId="{0B894EDB-5FAA-4D6D-9731-DC7585D29FA1}" dt="2025-04-09T06:43:49.344" v="1" actId="47"/>
        <pc:sldMkLst>
          <pc:docMk/>
          <pc:sldMk cId="1173090638" sldId="2147474118"/>
        </pc:sldMkLst>
      </pc:sldChg>
      <pc:sldChg chg="del">
        <pc:chgData name="Pospíšil Petr" userId="e0d1ff76-39e2-4a11-aa1c-b5969de38ad4" providerId="ADAL" clId="{0B894EDB-5FAA-4D6D-9731-DC7585D29FA1}" dt="2025-04-09T06:43:46.699" v="0" actId="47"/>
        <pc:sldMkLst>
          <pc:docMk/>
          <pc:sldMk cId="2478669161" sldId="2147474135"/>
        </pc:sldMkLst>
      </pc:sldChg>
      <pc:sldChg chg="del">
        <pc:chgData name="Pospíšil Petr" userId="e0d1ff76-39e2-4a11-aa1c-b5969de38ad4" providerId="ADAL" clId="{0B894EDB-5FAA-4D6D-9731-DC7585D29FA1}" dt="2025-04-09T06:43:46.699" v="0" actId="47"/>
        <pc:sldMkLst>
          <pc:docMk/>
          <pc:sldMk cId="526854043" sldId="2147474228"/>
        </pc:sldMkLst>
      </pc:sldChg>
      <pc:sldChg chg="del">
        <pc:chgData name="Pospíšil Petr" userId="e0d1ff76-39e2-4a11-aa1c-b5969de38ad4" providerId="ADAL" clId="{0B894EDB-5FAA-4D6D-9731-DC7585D29FA1}" dt="2025-04-09T06:43:46.699" v="0" actId="47"/>
        <pc:sldMkLst>
          <pc:docMk/>
          <pc:sldMk cId="1899477699" sldId="2147474232"/>
        </pc:sldMkLst>
      </pc:sldChg>
      <pc:sldChg chg="del">
        <pc:chgData name="Pospíšil Petr" userId="e0d1ff76-39e2-4a11-aa1c-b5969de38ad4" providerId="ADAL" clId="{0B894EDB-5FAA-4D6D-9731-DC7585D29FA1}" dt="2025-04-09T06:43:46.699" v="0" actId="47"/>
        <pc:sldMkLst>
          <pc:docMk/>
          <pc:sldMk cId="4098242751" sldId="2147475629"/>
        </pc:sldMkLst>
      </pc:sldChg>
      <pc:sldChg chg="del">
        <pc:chgData name="Pospíšil Petr" userId="e0d1ff76-39e2-4a11-aa1c-b5969de38ad4" providerId="ADAL" clId="{0B894EDB-5FAA-4D6D-9731-DC7585D29FA1}" dt="2025-04-09T06:43:46.699" v="0" actId="47"/>
        <pc:sldMkLst>
          <pc:docMk/>
          <pc:sldMk cId="2104964379" sldId="2147475630"/>
        </pc:sldMkLst>
      </pc:sldChg>
      <pc:sldChg chg="del">
        <pc:chgData name="Pospíšil Petr" userId="e0d1ff76-39e2-4a11-aa1c-b5969de38ad4" providerId="ADAL" clId="{0B894EDB-5FAA-4D6D-9731-DC7585D29FA1}" dt="2025-04-09T06:43:46.699" v="0" actId="47"/>
        <pc:sldMkLst>
          <pc:docMk/>
          <pc:sldMk cId="498701194" sldId="2147475631"/>
        </pc:sldMkLst>
      </pc:sldChg>
      <pc:sldChg chg="del">
        <pc:chgData name="Pospíšil Petr" userId="e0d1ff76-39e2-4a11-aa1c-b5969de38ad4" providerId="ADAL" clId="{0B894EDB-5FAA-4D6D-9731-DC7585D29FA1}" dt="2025-04-09T06:43:46.699" v="0" actId="47"/>
        <pc:sldMkLst>
          <pc:docMk/>
          <pc:sldMk cId="1783950618" sldId="2147475635"/>
        </pc:sldMkLst>
      </pc:sldChg>
      <pc:sldChg chg="del">
        <pc:chgData name="Pospíšil Petr" userId="e0d1ff76-39e2-4a11-aa1c-b5969de38ad4" providerId="ADAL" clId="{0B894EDB-5FAA-4D6D-9731-DC7585D29FA1}" dt="2025-04-09T06:43:46.699" v="0" actId="47"/>
        <pc:sldMkLst>
          <pc:docMk/>
          <pc:sldMk cId="2717070632" sldId="2147483640"/>
        </pc:sldMkLst>
      </pc:sldChg>
      <pc:sldChg chg="del">
        <pc:chgData name="Pospíšil Petr" userId="e0d1ff76-39e2-4a11-aa1c-b5969de38ad4" providerId="ADAL" clId="{0B894EDB-5FAA-4D6D-9731-DC7585D29FA1}" dt="2025-04-09T06:43:46.699" v="0" actId="47"/>
        <pc:sldMkLst>
          <pc:docMk/>
          <pc:sldMk cId="348889253" sldId="2147483642"/>
        </pc:sldMkLst>
      </pc:sldChg>
      <pc:sldChg chg="del">
        <pc:chgData name="Pospíšil Petr" userId="e0d1ff76-39e2-4a11-aa1c-b5969de38ad4" providerId="ADAL" clId="{0B894EDB-5FAA-4D6D-9731-DC7585D29FA1}" dt="2025-04-09T06:43:46.699" v="0" actId="47"/>
        <pc:sldMkLst>
          <pc:docMk/>
          <pc:sldMk cId="1357005326" sldId="2147483644"/>
        </pc:sldMkLst>
      </pc:sldChg>
      <pc:sldMasterChg chg="delSldLayout">
        <pc:chgData name="Pospíšil Petr" userId="e0d1ff76-39e2-4a11-aa1c-b5969de38ad4" providerId="ADAL" clId="{0B894EDB-5FAA-4D6D-9731-DC7585D29FA1}" dt="2025-04-09T06:43:46.699" v="0" actId="47"/>
        <pc:sldMasterMkLst>
          <pc:docMk/>
          <pc:sldMasterMk cId="127078800" sldId="2147483710"/>
        </pc:sldMasterMkLst>
        <pc:sldLayoutChg chg="del">
          <pc:chgData name="Pospíšil Petr" userId="e0d1ff76-39e2-4a11-aa1c-b5969de38ad4" providerId="ADAL" clId="{0B894EDB-5FAA-4D6D-9731-DC7585D29FA1}" dt="2025-04-09T06:43:46.699" v="0" actId="47"/>
          <pc:sldLayoutMkLst>
            <pc:docMk/>
            <pc:sldMasterMk cId="127078800" sldId="2147483710"/>
            <pc:sldLayoutMk cId="2770378724" sldId="2147483737"/>
          </pc:sldLayoutMkLst>
        </pc:sldLayoutChg>
      </pc:sldMasterChg>
      <pc:sldMasterChg chg="del delSldLayout">
        <pc:chgData name="Pospíšil Petr" userId="e0d1ff76-39e2-4a11-aa1c-b5969de38ad4" providerId="ADAL" clId="{0B894EDB-5FAA-4D6D-9731-DC7585D29FA1}" dt="2025-04-09T06:43:46.699" v="0" actId="47"/>
        <pc:sldMasterMkLst>
          <pc:docMk/>
          <pc:sldMasterMk cId="828149752" sldId="2147483795"/>
        </pc:sldMasterMkLst>
        <pc:sldLayoutChg chg="del">
          <pc:chgData name="Pospíšil Petr" userId="e0d1ff76-39e2-4a11-aa1c-b5969de38ad4" providerId="ADAL" clId="{0B894EDB-5FAA-4D6D-9731-DC7585D29FA1}" dt="2025-04-09T06:43:46.699" v="0" actId="47"/>
          <pc:sldLayoutMkLst>
            <pc:docMk/>
            <pc:sldMasterMk cId="828149752" sldId="2147483795"/>
            <pc:sldLayoutMk cId="3826128934" sldId="2147483796"/>
          </pc:sldLayoutMkLst>
        </pc:sldLayoutChg>
        <pc:sldLayoutChg chg="del">
          <pc:chgData name="Pospíšil Petr" userId="e0d1ff76-39e2-4a11-aa1c-b5969de38ad4" providerId="ADAL" clId="{0B894EDB-5FAA-4D6D-9731-DC7585D29FA1}" dt="2025-04-09T06:43:46.699" v="0" actId="47"/>
          <pc:sldLayoutMkLst>
            <pc:docMk/>
            <pc:sldMasterMk cId="828149752" sldId="2147483795"/>
            <pc:sldLayoutMk cId="425056723" sldId="2147483797"/>
          </pc:sldLayoutMkLst>
        </pc:sldLayoutChg>
        <pc:sldLayoutChg chg="del">
          <pc:chgData name="Pospíšil Petr" userId="e0d1ff76-39e2-4a11-aa1c-b5969de38ad4" providerId="ADAL" clId="{0B894EDB-5FAA-4D6D-9731-DC7585D29FA1}" dt="2025-04-09T06:43:46.699" v="0" actId="47"/>
          <pc:sldLayoutMkLst>
            <pc:docMk/>
            <pc:sldMasterMk cId="828149752" sldId="2147483795"/>
            <pc:sldLayoutMk cId="493401324" sldId="2147483798"/>
          </pc:sldLayoutMkLst>
        </pc:sldLayoutChg>
        <pc:sldLayoutChg chg="del">
          <pc:chgData name="Pospíšil Petr" userId="e0d1ff76-39e2-4a11-aa1c-b5969de38ad4" providerId="ADAL" clId="{0B894EDB-5FAA-4D6D-9731-DC7585D29FA1}" dt="2025-04-09T06:43:46.699" v="0" actId="47"/>
          <pc:sldLayoutMkLst>
            <pc:docMk/>
            <pc:sldMasterMk cId="828149752" sldId="2147483795"/>
            <pc:sldLayoutMk cId="907984224" sldId="2147483799"/>
          </pc:sldLayoutMkLst>
        </pc:sldLayoutChg>
        <pc:sldLayoutChg chg="del">
          <pc:chgData name="Pospíšil Petr" userId="e0d1ff76-39e2-4a11-aa1c-b5969de38ad4" providerId="ADAL" clId="{0B894EDB-5FAA-4D6D-9731-DC7585D29FA1}" dt="2025-04-09T06:43:46.699" v="0" actId="47"/>
          <pc:sldLayoutMkLst>
            <pc:docMk/>
            <pc:sldMasterMk cId="828149752" sldId="2147483795"/>
            <pc:sldLayoutMk cId="3868976092" sldId="2147483800"/>
          </pc:sldLayoutMkLst>
        </pc:sldLayoutChg>
        <pc:sldLayoutChg chg="del">
          <pc:chgData name="Pospíšil Petr" userId="e0d1ff76-39e2-4a11-aa1c-b5969de38ad4" providerId="ADAL" clId="{0B894EDB-5FAA-4D6D-9731-DC7585D29FA1}" dt="2025-04-09T06:43:46.699" v="0" actId="47"/>
          <pc:sldLayoutMkLst>
            <pc:docMk/>
            <pc:sldMasterMk cId="828149752" sldId="2147483795"/>
            <pc:sldLayoutMk cId="689043345" sldId="2147483801"/>
          </pc:sldLayoutMkLst>
        </pc:sldLayoutChg>
        <pc:sldLayoutChg chg="del">
          <pc:chgData name="Pospíšil Petr" userId="e0d1ff76-39e2-4a11-aa1c-b5969de38ad4" providerId="ADAL" clId="{0B894EDB-5FAA-4D6D-9731-DC7585D29FA1}" dt="2025-04-09T06:43:46.699" v="0" actId="47"/>
          <pc:sldLayoutMkLst>
            <pc:docMk/>
            <pc:sldMasterMk cId="828149752" sldId="2147483795"/>
            <pc:sldLayoutMk cId="2175355236" sldId="2147483802"/>
          </pc:sldLayoutMkLst>
        </pc:sldLayoutChg>
        <pc:sldLayoutChg chg="del">
          <pc:chgData name="Pospíšil Petr" userId="e0d1ff76-39e2-4a11-aa1c-b5969de38ad4" providerId="ADAL" clId="{0B894EDB-5FAA-4D6D-9731-DC7585D29FA1}" dt="2025-04-09T06:43:46.699" v="0" actId="47"/>
          <pc:sldLayoutMkLst>
            <pc:docMk/>
            <pc:sldMasterMk cId="828149752" sldId="2147483795"/>
            <pc:sldLayoutMk cId="4169844026" sldId="2147483803"/>
          </pc:sldLayoutMkLst>
        </pc:sldLayoutChg>
        <pc:sldLayoutChg chg="del">
          <pc:chgData name="Pospíšil Petr" userId="e0d1ff76-39e2-4a11-aa1c-b5969de38ad4" providerId="ADAL" clId="{0B894EDB-5FAA-4D6D-9731-DC7585D29FA1}" dt="2025-04-09T06:43:46.699" v="0" actId="47"/>
          <pc:sldLayoutMkLst>
            <pc:docMk/>
            <pc:sldMasterMk cId="828149752" sldId="2147483795"/>
            <pc:sldLayoutMk cId="2936499070" sldId="2147483804"/>
          </pc:sldLayoutMkLst>
        </pc:sldLayoutChg>
        <pc:sldLayoutChg chg="del">
          <pc:chgData name="Pospíšil Petr" userId="e0d1ff76-39e2-4a11-aa1c-b5969de38ad4" providerId="ADAL" clId="{0B894EDB-5FAA-4D6D-9731-DC7585D29FA1}" dt="2025-04-09T06:43:46.699" v="0" actId="47"/>
          <pc:sldLayoutMkLst>
            <pc:docMk/>
            <pc:sldMasterMk cId="828149752" sldId="2147483795"/>
            <pc:sldLayoutMk cId="2268782391" sldId="2147483805"/>
          </pc:sldLayoutMkLst>
        </pc:sldLayoutChg>
        <pc:sldLayoutChg chg="del">
          <pc:chgData name="Pospíšil Petr" userId="e0d1ff76-39e2-4a11-aa1c-b5969de38ad4" providerId="ADAL" clId="{0B894EDB-5FAA-4D6D-9731-DC7585D29FA1}" dt="2025-04-09T06:43:46.699" v="0" actId="47"/>
          <pc:sldLayoutMkLst>
            <pc:docMk/>
            <pc:sldMasterMk cId="828149752" sldId="2147483795"/>
            <pc:sldLayoutMk cId="883771465" sldId="2147483806"/>
          </pc:sldLayoutMkLst>
        </pc:sldLayoutChg>
        <pc:sldLayoutChg chg="del">
          <pc:chgData name="Pospíšil Petr" userId="e0d1ff76-39e2-4a11-aa1c-b5969de38ad4" providerId="ADAL" clId="{0B894EDB-5FAA-4D6D-9731-DC7585D29FA1}" dt="2025-04-09T06:43:46.699" v="0" actId="47"/>
          <pc:sldLayoutMkLst>
            <pc:docMk/>
            <pc:sldMasterMk cId="828149752" sldId="2147483795"/>
            <pc:sldLayoutMk cId="3401884723" sldId="2147483807"/>
          </pc:sldLayoutMkLst>
        </pc:sldLayoutChg>
        <pc:sldLayoutChg chg="del">
          <pc:chgData name="Pospíšil Petr" userId="e0d1ff76-39e2-4a11-aa1c-b5969de38ad4" providerId="ADAL" clId="{0B894EDB-5FAA-4D6D-9731-DC7585D29FA1}" dt="2025-04-09T06:43:46.699" v="0" actId="47"/>
          <pc:sldLayoutMkLst>
            <pc:docMk/>
            <pc:sldMasterMk cId="828149752" sldId="2147483795"/>
            <pc:sldLayoutMk cId="1410022400" sldId="2147483808"/>
          </pc:sldLayoutMkLst>
        </pc:sldLayoutChg>
        <pc:sldLayoutChg chg="del">
          <pc:chgData name="Pospíšil Petr" userId="e0d1ff76-39e2-4a11-aa1c-b5969de38ad4" providerId="ADAL" clId="{0B894EDB-5FAA-4D6D-9731-DC7585D29FA1}" dt="2025-04-09T06:43:46.699" v="0" actId="47"/>
          <pc:sldLayoutMkLst>
            <pc:docMk/>
            <pc:sldMasterMk cId="828149752" sldId="2147483795"/>
            <pc:sldLayoutMk cId="2931330256" sldId="2147483809"/>
          </pc:sldLayoutMkLst>
        </pc:sldLayoutChg>
        <pc:sldLayoutChg chg="del">
          <pc:chgData name="Pospíšil Petr" userId="e0d1ff76-39e2-4a11-aa1c-b5969de38ad4" providerId="ADAL" clId="{0B894EDB-5FAA-4D6D-9731-DC7585D29FA1}" dt="2025-04-09T06:43:46.699" v="0" actId="47"/>
          <pc:sldLayoutMkLst>
            <pc:docMk/>
            <pc:sldMasterMk cId="828149752" sldId="2147483795"/>
            <pc:sldLayoutMk cId="755100484" sldId="2147483810"/>
          </pc:sldLayoutMkLst>
        </pc:sldLayoutChg>
        <pc:sldLayoutChg chg="del">
          <pc:chgData name="Pospíšil Petr" userId="e0d1ff76-39e2-4a11-aa1c-b5969de38ad4" providerId="ADAL" clId="{0B894EDB-5FAA-4D6D-9731-DC7585D29FA1}" dt="2025-04-09T06:43:46.699" v="0" actId="47"/>
          <pc:sldLayoutMkLst>
            <pc:docMk/>
            <pc:sldMasterMk cId="828149752" sldId="2147483795"/>
            <pc:sldLayoutMk cId="1236208360" sldId="2147483811"/>
          </pc:sldLayoutMkLst>
        </pc:sldLayoutChg>
        <pc:sldLayoutChg chg="del">
          <pc:chgData name="Pospíšil Petr" userId="e0d1ff76-39e2-4a11-aa1c-b5969de38ad4" providerId="ADAL" clId="{0B894EDB-5FAA-4D6D-9731-DC7585D29FA1}" dt="2025-04-09T06:43:46.699" v="0" actId="47"/>
          <pc:sldLayoutMkLst>
            <pc:docMk/>
            <pc:sldMasterMk cId="828149752" sldId="2147483795"/>
            <pc:sldLayoutMk cId="134083702" sldId="2147483812"/>
          </pc:sldLayoutMkLst>
        </pc:sldLayoutChg>
        <pc:sldLayoutChg chg="del">
          <pc:chgData name="Pospíšil Petr" userId="e0d1ff76-39e2-4a11-aa1c-b5969de38ad4" providerId="ADAL" clId="{0B894EDB-5FAA-4D6D-9731-DC7585D29FA1}" dt="2025-04-09T06:43:46.699" v="0" actId="47"/>
          <pc:sldLayoutMkLst>
            <pc:docMk/>
            <pc:sldMasterMk cId="828149752" sldId="2147483795"/>
            <pc:sldLayoutMk cId="2093732640" sldId="2147483813"/>
          </pc:sldLayoutMkLst>
        </pc:sldLayoutChg>
        <pc:sldLayoutChg chg="del">
          <pc:chgData name="Pospíšil Petr" userId="e0d1ff76-39e2-4a11-aa1c-b5969de38ad4" providerId="ADAL" clId="{0B894EDB-5FAA-4D6D-9731-DC7585D29FA1}" dt="2025-04-09T06:43:46.699" v="0" actId="47"/>
          <pc:sldLayoutMkLst>
            <pc:docMk/>
            <pc:sldMasterMk cId="828149752" sldId="2147483795"/>
            <pc:sldLayoutMk cId="2771092760" sldId="2147483814"/>
          </pc:sldLayoutMkLst>
        </pc:sldLayoutChg>
        <pc:sldLayoutChg chg="del">
          <pc:chgData name="Pospíšil Petr" userId="e0d1ff76-39e2-4a11-aa1c-b5969de38ad4" providerId="ADAL" clId="{0B894EDB-5FAA-4D6D-9731-DC7585D29FA1}" dt="2025-04-09T06:43:46.699" v="0" actId="47"/>
          <pc:sldLayoutMkLst>
            <pc:docMk/>
            <pc:sldMasterMk cId="828149752" sldId="2147483795"/>
            <pc:sldLayoutMk cId="1461863725" sldId="2147483815"/>
          </pc:sldLayoutMkLst>
        </pc:sldLayoutChg>
        <pc:sldLayoutChg chg="del">
          <pc:chgData name="Pospíšil Petr" userId="e0d1ff76-39e2-4a11-aa1c-b5969de38ad4" providerId="ADAL" clId="{0B894EDB-5FAA-4D6D-9731-DC7585D29FA1}" dt="2025-04-09T06:43:46.699" v="0" actId="47"/>
          <pc:sldLayoutMkLst>
            <pc:docMk/>
            <pc:sldMasterMk cId="828149752" sldId="2147483795"/>
            <pc:sldLayoutMk cId="2505215586" sldId="2147483816"/>
          </pc:sldLayoutMkLst>
        </pc:sldLayoutChg>
        <pc:sldLayoutChg chg="del">
          <pc:chgData name="Pospíšil Petr" userId="e0d1ff76-39e2-4a11-aa1c-b5969de38ad4" providerId="ADAL" clId="{0B894EDB-5FAA-4D6D-9731-DC7585D29FA1}" dt="2025-04-09T06:43:46.699" v="0" actId="47"/>
          <pc:sldLayoutMkLst>
            <pc:docMk/>
            <pc:sldMasterMk cId="828149752" sldId="2147483795"/>
            <pc:sldLayoutMk cId="4100974758" sldId="2147483817"/>
          </pc:sldLayoutMkLst>
        </pc:sldLayoutChg>
        <pc:sldLayoutChg chg="del">
          <pc:chgData name="Pospíšil Petr" userId="e0d1ff76-39e2-4a11-aa1c-b5969de38ad4" providerId="ADAL" clId="{0B894EDB-5FAA-4D6D-9731-DC7585D29FA1}" dt="2025-04-09T06:43:46.699" v="0" actId="47"/>
          <pc:sldLayoutMkLst>
            <pc:docMk/>
            <pc:sldMasterMk cId="828149752" sldId="2147483795"/>
            <pc:sldLayoutMk cId="2160180458" sldId="2147483818"/>
          </pc:sldLayoutMkLst>
        </pc:sldLayoutChg>
        <pc:sldLayoutChg chg="del">
          <pc:chgData name="Pospíšil Petr" userId="e0d1ff76-39e2-4a11-aa1c-b5969de38ad4" providerId="ADAL" clId="{0B894EDB-5FAA-4D6D-9731-DC7585D29FA1}" dt="2025-04-09T06:43:46.699" v="0" actId="47"/>
          <pc:sldLayoutMkLst>
            <pc:docMk/>
            <pc:sldMasterMk cId="828149752" sldId="2147483795"/>
            <pc:sldLayoutMk cId="3569090668" sldId="2147483819"/>
          </pc:sldLayoutMkLst>
        </pc:sldLayoutChg>
        <pc:sldLayoutChg chg="del">
          <pc:chgData name="Pospíšil Petr" userId="e0d1ff76-39e2-4a11-aa1c-b5969de38ad4" providerId="ADAL" clId="{0B894EDB-5FAA-4D6D-9731-DC7585D29FA1}" dt="2025-04-09T06:43:46.699" v="0" actId="47"/>
          <pc:sldLayoutMkLst>
            <pc:docMk/>
            <pc:sldMasterMk cId="828149752" sldId="2147483795"/>
            <pc:sldLayoutMk cId="1568019837" sldId="2147483820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3069621711230947E-2"/>
          <c:y val="0.13016018708584182"/>
          <c:w val="0.92683537161830165"/>
          <c:h val="0.62204980460229331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Řada 1</c:v>
                </c:pt>
              </c:strCache>
            </c:strRef>
          </c:tx>
          <c:spPr>
            <a:ln w="57150">
              <a:solidFill>
                <a:schemeClr val="accent4"/>
              </a:solidFill>
            </a:ln>
          </c:spPr>
          <c:marker>
            <c:symbol val="circle"/>
            <c:size val="5"/>
            <c:spPr>
              <a:solidFill>
                <a:schemeClr val="accent2"/>
              </a:solidFill>
              <a:ln w="57150">
                <a:solidFill>
                  <a:schemeClr val="accent4"/>
                </a:solidFill>
              </a:ln>
            </c:spPr>
          </c:marker>
          <c:dPt>
            <c:idx val="1"/>
            <c:marker>
              <c:symbol val="none"/>
            </c:marker>
            <c:bubble3D val="0"/>
            <c:spPr>
              <a:ln w="57150">
                <a:solidFill>
                  <a:schemeClr val="accent4"/>
                </a:solidFill>
                <a:prstDash val="sysDash"/>
              </a:ln>
            </c:spPr>
            <c:extLst>
              <c:ext xmlns:c16="http://schemas.microsoft.com/office/drawing/2014/chart" uri="{C3380CC4-5D6E-409C-BE32-E72D297353CC}">
                <c16:uniqueId val="{00000001-0BA0-44E6-BF4F-8B4263BD1839}"/>
              </c:ext>
            </c:extLst>
          </c:dPt>
          <c:dPt>
            <c:idx val="2"/>
            <c:marker>
              <c:symbol val="none"/>
            </c:marker>
            <c:bubble3D val="0"/>
            <c:spPr>
              <a:ln w="57150">
                <a:solidFill>
                  <a:schemeClr val="accent4"/>
                </a:solidFill>
                <a:prstDash val="sysDash"/>
              </a:ln>
            </c:spPr>
            <c:extLst>
              <c:ext xmlns:c16="http://schemas.microsoft.com/office/drawing/2014/chart" uri="{C3380CC4-5D6E-409C-BE32-E72D297353CC}">
                <c16:uniqueId val="{00000003-0BA0-44E6-BF4F-8B4263BD1839}"/>
              </c:ext>
            </c:extLst>
          </c:dPt>
          <c:dPt>
            <c:idx val="3"/>
            <c:marker>
              <c:symbol val="none"/>
            </c:marker>
            <c:bubble3D val="0"/>
            <c:spPr>
              <a:ln w="57150">
                <a:solidFill>
                  <a:schemeClr val="accent4"/>
                </a:solidFill>
                <a:prstDash val="sysDash"/>
              </a:ln>
            </c:spPr>
            <c:extLst>
              <c:ext xmlns:c16="http://schemas.microsoft.com/office/drawing/2014/chart" uri="{C3380CC4-5D6E-409C-BE32-E72D297353CC}">
                <c16:uniqueId val="{00000005-0BA0-44E6-BF4F-8B4263BD1839}"/>
              </c:ext>
            </c:extLst>
          </c:dPt>
          <c:dPt>
            <c:idx val="4"/>
            <c:marker>
              <c:symbol val="none"/>
            </c:marker>
            <c:bubble3D val="0"/>
            <c:spPr>
              <a:ln w="57150">
                <a:solidFill>
                  <a:schemeClr val="accent4"/>
                </a:solidFill>
                <a:prstDash val="sysDash"/>
              </a:ln>
            </c:spPr>
            <c:extLst>
              <c:ext xmlns:c16="http://schemas.microsoft.com/office/drawing/2014/chart" uri="{C3380CC4-5D6E-409C-BE32-E72D297353CC}">
                <c16:uniqueId val="{00000007-0BA0-44E6-BF4F-8B4263BD1839}"/>
              </c:ext>
            </c:extLst>
          </c:dPt>
          <c:dPt>
            <c:idx val="5"/>
            <c:bubble3D val="0"/>
            <c:spPr>
              <a:ln w="57150">
                <a:solidFill>
                  <a:schemeClr val="accent4"/>
                </a:solidFill>
                <a:prstDash val="sysDash"/>
              </a:ln>
            </c:spPr>
            <c:extLst>
              <c:ext xmlns:c16="http://schemas.microsoft.com/office/drawing/2014/chart" uri="{C3380CC4-5D6E-409C-BE32-E72D297353CC}">
                <c16:uniqueId val="{00000009-0BA0-44E6-BF4F-8B4263BD1839}"/>
              </c:ext>
            </c:extLst>
          </c:dPt>
          <c:dPt>
            <c:idx val="8"/>
            <c:marker>
              <c:spPr>
                <a:solidFill>
                  <a:schemeClr val="bg2"/>
                </a:solidFill>
                <a:ln w="57150">
                  <a:solidFill>
                    <a:schemeClr val="accent4"/>
                  </a:solidFill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0BA0-44E6-BF4F-8B4263BD1839}"/>
              </c:ext>
            </c:extLst>
          </c:dPt>
          <c:dPt>
            <c:idx val="16"/>
            <c:marker>
              <c:symbol val="none"/>
            </c:marker>
            <c:bubble3D val="0"/>
            <c:spPr>
              <a:ln w="57150">
                <a:solidFill>
                  <a:schemeClr val="accent4"/>
                </a:solidFill>
                <a:prstDash val="sysDash"/>
              </a:ln>
            </c:spPr>
            <c:extLst>
              <c:ext xmlns:c16="http://schemas.microsoft.com/office/drawing/2014/chart" uri="{C3380CC4-5D6E-409C-BE32-E72D297353CC}">
                <c16:uniqueId val="{0000000C-0BA0-44E6-BF4F-8B4263BD1839}"/>
              </c:ext>
            </c:extLst>
          </c:dPt>
          <c:dPt>
            <c:idx val="17"/>
            <c:bubble3D val="0"/>
            <c:spPr>
              <a:ln w="57150">
                <a:solidFill>
                  <a:schemeClr val="accent4"/>
                </a:solidFill>
                <a:prstDash val="sysDash"/>
              </a:ln>
            </c:spPr>
            <c:extLst>
              <c:ext xmlns:c16="http://schemas.microsoft.com/office/drawing/2014/chart" uri="{C3380CC4-5D6E-409C-BE32-E72D297353CC}">
                <c16:uniqueId val="{0000000E-0BA0-44E6-BF4F-8B4263BD1839}"/>
              </c:ext>
            </c:extLst>
          </c:dPt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BA0-44E6-BF4F-8B4263BD1839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BA0-44E6-BF4F-8B4263BD1839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BA0-44E6-BF4F-8B4263BD1839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0BA0-44E6-BF4F-8B4263BD1839}"/>
                </c:ext>
              </c:extLst>
            </c:dLbl>
            <c:dLbl>
              <c:idx val="8"/>
              <c:layout>
                <c:manualLayout>
                  <c:x val="-1.5958654496229987E-2"/>
                  <c:y val="-5.191471383764769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0BA0-44E6-BF4F-8B4263BD1839}"/>
                </c:ext>
              </c:extLst>
            </c:dLbl>
            <c:dLbl>
              <c:idx val="12"/>
              <c:layout>
                <c:manualLayout>
                  <c:x val="-3.2013638898875887E-2"/>
                  <c:y val="-5.191471383764769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0BA0-44E6-BF4F-8B4263BD1839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0BA0-44E6-BF4F-8B4263BD1839}"/>
                </c:ext>
              </c:extLst>
            </c:dLbl>
            <c:dLbl>
              <c:idx val="17"/>
              <c:layout>
                <c:manualLayout>
                  <c:x val="-2.1310315963778605E-2"/>
                  <c:y val="-9.20102773223855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0BA0-44E6-BF4F-8B4263BD1839}"/>
                </c:ext>
              </c:extLst>
            </c:dLbl>
            <c:dLbl>
              <c:idx val="20"/>
              <c:layout>
                <c:manualLayout>
                  <c:x val="-2.3450980550798133E-2"/>
                  <c:y val="-8.472017487061503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0BA0-44E6-BF4F-8B4263BD1839}"/>
                </c:ext>
              </c:extLst>
            </c:dLbl>
            <c:dLbl>
              <c:idx val="21"/>
              <c:layout>
                <c:manualLayout>
                  <c:x val="-2.6661977431327227E-2"/>
                  <c:y val="-5.191471383764769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0BA0-44E6-BF4F-8B4263BD1839}"/>
                </c:ext>
              </c:extLst>
            </c:dLbl>
            <c:dLbl>
              <c:idx val="28"/>
              <c:layout>
                <c:manualLayout>
                  <c:x val="-2.2380648257288333E-2"/>
                  <c:y val="-5.920481628941824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0BA0-44E6-BF4F-8B4263BD1839}"/>
                </c:ext>
              </c:extLst>
            </c:dLbl>
            <c:dLbl>
              <c:idx val="29"/>
              <c:layout>
                <c:manualLayout>
                  <c:x val="-1.9169651376759158E-2"/>
                  <c:y val="-6.28498675153034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0BA0-44E6-BF4F-8B4263BD1839}"/>
                </c:ext>
              </c:extLst>
            </c:dLbl>
            <c:dLbl>
              <c:idx val="30"/>
              <c:layout>
                <c:manualLayout>
                  <c:x val="-2.0239983670268882E-2"/>
                  <c:y val="-3.368945770822143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0BA0-44E6-BF4F-8B4263BD1839}"/>
                </c:ext>
              </c:extLst>
            </c:dLbl>
            <c:dLbl>
              <c:idx val="34"/>
              <c:layout>
                <c:manualLayout>
                  <c:x val="-1.9517106708433506E-2"/>
                  <c:y val="-5.191471383764769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0BA0-44E6-BF4F-8B4263BD1839}"/>
                </c:ext>
              </c:extLst>
            </c:dLbl>
            <c:dLbl>
              <c:idx val="35"/>
              <c:layout>
                <c:manualLayout>
                  <c:x val="-1.8804052834298909E-2"/>
                  <c:y val="-4.097956015999192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0BA0-44E6-BF4F-8B4263BD1839}"/>
                </c:ext>
              </c:extLst>
            </c:dLbl>
            <c:dLbl>
              <c:idx val="36"/>
              <c:layout>
                <c:manualLayout>
                  <c:x val="-1.9169651376759158E-2"/>
                  <c:y val="-4.826966261176243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0BA0-44E6-BF4F-8B4263BD1839}"/>
                </c:ext>
              </c:extLst>
            </c:dLbl>
            <c:dLbl>
              <c:idx val="37"/>
              <c:layout>
                <c:manualLayout>
                  <c:x val="-5.0930961544393425E-3"/>
                  <c:y val="-5.191471383764769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0BA0-44E6-BF4F-8B4263BD1839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A$2:$A$39</c:f>
              <c:strCache>
                <c:ptCount val="38"/>
                <c:pt idx="0">
                  <c:v>1994</c:v>
                </c:pt>
                <c:pt idx="1">
                  <c:v>1995*</c:v>
                </c:pt>
                <c:pt idx="2">
                  <c:v>1996*</c:v>
                </c:pt>
                <c:pt idx="3">
                  <c:v>1997*</c:v>
                </c:pt>
                <c:pt idx="4">
                  <c:v>1998*</c:v>
                </c:pt>
                <c:pt idx="5">
                  <c:v>1999</c:v>
                </c:pt>
                <c:pt idx="6">
                  <c:v>2000</c:v>
                </c:pt>
                <c:pt idx="7">
                  <c:v>2001</c:v>
                </c:pt>
                <c:pt idx="8">
                  <c:v>2002</c:v>
                </c:pt>
                <c:pt idx="9">
                  <c:v>2003</c:v>
                </c:pt>
                <c:pt idx="10">
                  <c:v>2004</c:v>
                </c:pt>
                <c:pt idx="11">
                  <c:v>2005</c:v>
                </c:pt>
                <c:pt idx="12">
                  <c:v>2006</c:v>
                </c:pt>
                <c:pt idx="13">
                  <c:v>2007</c:v>
                </c:pt>
                <c:pt idx="14">
                  <c:v>2008</c:v>
                </c:pt>
                <c:pt idx="15">
                  <c:v>2009</c:v>
                </c:pt>
                <c:pt idx="16">
                  <c:v>2010*</c:v>
                </c:pt>
                <c:pt idx="17">
                  <c:v>2011</c:v>
                </c:pt>
                <c:pt idx="18">
                  <c:v>2012</c:v>
                </c:pt>
                <c:pt idx="19">
                  <c:v>2013</c:v>
                </c:pt>
                <c:pt idx="20">
                  <c:v>2014</c:v>
                </c:pt>
                <c:pt idx="21">
                  <c:v>2015</c:v>
                </c:pt>
                <c:pt idx="22">
                  <c:v>2016</c:v>
                </c:pt>
                <c:pt idx="23">
                  <c:v>2017</c:v>
                </c:pt>
                <c:pt idx="24">
                  <c:v>4/2018</c:v>
                </c:pt>
                <c:pt idx="25">
                  <c:v>11/2018</c:v>
                </c:pt>
                <c:pt idx="26">
                  <c:v>6/2019</c:v>
                </c:pt>
                <c:pt idx="27">
                  <c:v>11/2019</c:v>
                </c:pt>
                <c:pt idx="28">
                  <c:v>5/2020</c:v>
                </c:pt>
                <c:pt idx="29">
                  <c:v>11/2020</c:v>
                </c:pt>
                <c:pt idx="30">
                  <c:v>5/2021</c:v>
                </c:pt>
                <c:pt idx="31">
                  <c:v> 11/2021</c:v>
                </c:pt>
                <c:pt idx="32">
                  <c:v> 5/2022</c:v>
                </c:pt>
                <c:pt idx="33">
                  <c:v> 11/2022</c:v>
                </c:pt>
                <c:pt idx="34">
                  <c:v> 5/2023</c:v>
                </c:pt>
                <c:pt idx="35">
                  <c:v> 11/2023</c:v>
                </c:pt>
                <c:pt idx="36">
                  <c:v> 5/2024</c:v>
                </c:pt>
                <c:pt idx="37">
                  <c:v> 11/2024</c:v>
                </c:pt>
              </c:strCache>
            </c:strRef>
          </c:cat>
          <c:val>
            <c:numRef>
              <c:f>List1!$B$2:$B$39</c:f>
              <c:numCache>
                <c:formatCode>General</c:formatCode>
                <c:ptCount val="38"/>
                <c:pt idx="0">
                  <c:v>0.68</c:v>
                </c:pt>
                <c:pt idx="1">
                  <c:v>0.63800000000000001</c:v>
                </c:pt>
                <c:pt idx="2">
                  <c:v>0.59599999999999997</c:v>
                </c:pt>
                <c:pt idx="3">
                  <c:v>0.55399999999999994</c:v>
                </c:pt>
                <c:pt idx="4">
                  <c:v>0.5119999999999999</c:v>
                </c:pt>
                <c:pt idx="5">
                  <c:v>0.47</c:v>
                </c:pt>
                <c:pt idx="6">
                  <c:v>0.63</c:v>
                </c:pt>
                <c:pt idx="7">
                  <c:v>0.57999999999999996</c:v>
                </c:pt>
                <c:pt idx="8">
                  <c:v>0.59</c:v>
                </c:pt>
                <c:pt idx="9">
                  <c:v>0.56000000000000005</c:v>
                </c:pt>
                <c:pt idx="10">
                  <c:v>0.52</c:v>
                </c:pt>
                <c:pt idx="11">
                  <c:v>0.54</c:v>
                </c:pt>
                <c:pt idx="12">
                  <c:v>0.59</c:v>
                </c:pt>
                <c:pt idx="13">
                  <c:v>0.59</c:v>
                </c:pt>
                <c:pt idx="14">
                  <c:v>0.67</c:v>
                </c:pt>
                <c:pt idx="15">
                  <c:v>0.71</c:v>
                </c:pt>
                <c:pt idx="16">
                  <c:v>0.625</c:v>
                </c:pt>
                <c:pt idx="17">
                  <c:v>0.54</c:v>
                </c:pt>
                <c:pt idx="18">
                  <c:v>0.64</c:v>
                </c:pt>
                <c:pt idx="19">
                  <c:v>0.67</c:v>
                </c:pt>
                <c:pt idx="20">
                  <c:v>0.59</c:v>
                </c:pt>
                <c:pt idx="21">
                  <c:v>0.57499999999999996</c:v>
                </c:pt>
                <c:pt idx="22">
                  <c:v>0.55200000000000005</c:v>
                </c:pt>
                <c:pt idx="23">
                  <c:v>0.58199999999999996</c:v>
                </c:pt>
                <c:pt idx="24">
                  <c:v>0.60199999999999998</c:v>
                </c:pt>
                <c:pt idx="25">
                  <c:v>0.624</c:v>
                </c:pt>
                <c:pt idx="26">
                  <c:v>0.59599999999999997</c:v>
                </c:pt>
                <c:pt idx="27">
                  <c:v>0.62</c:v>
                </c:pt>
                <c:pt idx="28">
                  <c:v>0.626</c:v>
                </c:pt>
                <c:pt idx="29">
                  <c:v>0.60599999999999998</c:v>
                </c:pt>
                <c:pt idx="30">
                  <c:v>0.58799999999999997</c:v>
                </c:pt>
                <c:pt idx="31">
                  <c:v>0.65</c:v>
                </c:pt>
                <c:pt idx="32">
                  <c:v>0.67800000000000005</c:v>
                </c:pt>
                <c:pt idx="33">
                  <c:v>0.71599999999999997</c:v>
                </c:pt>
                <c:pt idx="34">
                  <c:v>0.70399999999999996</c:v>
                </c:pt>
                <c:pt idx="35">
                  <c:v>0.69</c:v>
                </c:pt>
                <c:pt idx="36">
                  <c:v>0.7</c:v>
                </c:pt>
                <c:pt idx="37">
                  <c:v>0.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9-0BA0-44E6-BF4F-8B4263BD18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60938496"/>
        <c:axId val="460932616"/>
      </c:lineChart>
      <c:catAx>
        <c:axId val="460938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noFill/>
          </a:ln>
        </c:spPr>
        <c:crossAx val="460932616"/>
        <c:crosses val="autoZero"/>
        <c:auto val="1"/>
        <c:lblAlgn val="ctr"/>
        <c:lblOffset val="100"/>
        <c:noMultiLvlLbl val="0"/>
      </c:catAx>
      <c:valAx>
        <c:axId val="460932616"/>
        <c:scaling>
          <c:orientation val="minMax"/>
          <c:max val="0.75000000000000011"/>
          <c:min val="0.2"/>
        </c:scaling>
        <c:delete val="1"/>
        <c:axPos val="l"/>
        <c:numFmt formatCode="General" sourceLinked="1"/>
        <c:majorTickMark val="none"/>
        <c:minorTickMark val="none"/>
        <c:tickLblPos val="nextTo"/>
        <c:crossAx val="460938496"/>
        <c:crosses val="autoZero"/>
        <c:crossBetween val="between"/>
      </c:valAx>
      <c:spPr>
        <a:noFill/>
        <a:ln>
          <a:noFill/>
        </a:ln>
      </c:spPr>
    </c:plotArea>
    <c:plotVisOnly val="1"/>
    <c:dispBlanksAs val="gap"/>
    <c:showDLblsOverMax val="0"/>
  </c:chart>
  <c:txPr>
    <a:bodyPr/>
    <a:lstStyle/>
    <a:p>
      <a:pPr>
        <a:defRPr sz="1300"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pPr>
      <a:endParaRPr lang="cs-CZ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Z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AD0EB4-D535-0E4E-B0A8-7C40A708B17B}" type="datetimeFigureOut">
              <a:rPr lang="en-CZ" smtClean="0"/>
              <a:t>04/08/2025</a:t>
            </a:fld>
            <a:endParaRPr lang="en-CZ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Z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E673D0-23DB-BD43-ACA1-43CD0E2954D3}" type="slidenum">
              <a:rPr lang="en-CZ" smtClean="0"/>
              <a:t>‹#›</a:t>
            </a:fld>
            <a:endParaRPr lang="en-CZ"/>
          </a:p>
        </p:txBody>
      </p:sp>
    </p:spTree>
    <p:extLst>
      <p:ext uri="{BB962C8B-B14F-4D97-AF65-F5344CB8AC3E}">
        <p14:creationId xmlns:p14="http://schemas.microsoft.com/office/powerpoint/2010/main" val="31736258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8027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A2DB32-4072-154C-9ABF-999EDCDDA184}" type="slidenum">
              <a:rPr kumimoji="0" lang="cs-CZ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80275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cs-CZ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57401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57120"/>
            <a:ext cx="10298111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6"/>
          <a:stretch/>
        </p:blipFill>
        <p:spPr>
          <a:xfrm>
            <a:off x="10920536" y="476672"/>
            <a:ext cx="639074" cy="641351"/>
          </a:xfrm>
          <a:prstGeom prst="rect">
            <a:avLst/>
          </a:prstGeom>
        </p:spPr>
      </p:pic>
      <p:sp>
        <p:nvSpPr>
          <p:cNvPr id="6" name="Text Placeholder 19">
            <a:extLst>
              <a:ext uri="{FF2B5EF4-FFF2-40B4-BE49-F238E27FC236}">
                <a16:creationId xmlns:a16="http://schemas.microsoft.com/office/drawing/2014/main" id="{AD1ED3B7-42DB-F308-0499-1C88F389A4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0862" y="1916113"/>
            <a:ext cx="10922001" cy="64633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7" name="Zástupný text 2">
            <a:extLst>
              <a:ext uri="{FF2B5EF4-FFF2-40B4-BE49-F238E27FC236}">
                <a16:creationId xmlns:a16="http://schemas.microsoft.com/office/drawing/2014/main" id="{59088635-C4A2-5DE7-C005-B34DB130725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0863" y="2852936"/>
            <a:ext cx="11009312" cy="1656878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41139666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_obrázky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5400" y="980728"/>
            <a:ext cx="4360576" cy="2232248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9" name="Zástupný symbol obrázku 5">
            <a:extLst>
              <a:ext uri="{FF2B5EF4-FFF2-40B4-BE49-F238E27FC236}">
                <a16:creationId xmlns:a16="http://schemas.microsoft.com/office/drawing/2014/main" id="{436FB165-3355-0608-17AA-55271C8520A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5400" y="3717032"/>
            <a:ext cx="4360576" cy="230425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B63CCBDE-E186-7A2F-6229-94CA73D7B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231904" y="980728"/>
            <a:ext cx="2448272" cy="504056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1" name="Zástupný symbol obrázku 5">
            <a:extLst>
              <a:ext uri="{FF2B5EF4-FFF2-40B4-BE49-F238E27FC236}">
                <a16:creationId xmlns:a16="http://schemas.microsoft.com/office/drawing/2014/main" id="{1F8AB5F7-2014-3DE5-A3E7-7270C5725B7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836423" y="980728"/>
            <a:ext cx="2448272" cy="504056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945F3B21-C1EB-48B8-50D4-6A1748F784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7774" y="62068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8" name="Text Placeholder 21">
            <a:extLst>
              <a:ext uri="{FF2B5EF4-FFF2-40B4-BE49-F238E27FC236}">
                <a16:creationId xmlns:a16="http://schemas.microsoft.com/office/drawing/2014/main" id="{678171B0-6EE8-F925-C2D7-E083CA87A0E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31904" y="620688"/>
            <a:ext cx="244827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1233071-C0AF-A6FF-94AC-46A2C47190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36423" y="620688"/>
            <a:ext cx="244827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025A8E0E-07B3-81B9-AE5F-9B5C442507F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95400" y="3356992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292611097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429000"/>
            <a:ext cx="3024336" cy="3429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5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481D8A43-26C0-4F19-195B-DC10811183C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024336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2" name="Zástupný symbol obrázku 5">
            <a:extLst>
              <a:ext uri="{FF2B5EF4-FFF2-40B4-BE49-F238E27FC236}">
                <a16:creationId xmlns:a16="http://schemas.microsoft.com/office/drawing/2014/main" id="{718C012B-B3C7-8DDD-F0C5-9DE6C7C2CCB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96344" y="0"/>
            <a:ext cx="2975992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A2696F3F-7A65-64A8-94F3-227A61117C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81619" y="332656"/>
            <a:ext cx="4022893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3" name="Zástupný symbol obrázku 5">
            <a:extLst>
              <a:ext uri="{FF2B5EF4-FFF2-40B4-BE49-F238E27FC236}">
                <a16:creationId xmlns:a16="http://schemas.microsoft.com/office/drawing/2014/main" id="{953DEFEB-09ED-9E58-EF97-921059EC70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96344" y="3429000"/>
            <a:ext cx="2975992" cy="3429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1" name="Zástupný text 2">
            <a:extLst>
              <a:ext uri="{FF2B5EF4-FFF2-40B4-BE49-F238E27FC236}">
                <a16:creationId xmlns:a16="http://schemas.microsoft.com/office/drawing/2014/main" id="{AF65E1E2-DCA5-AF05-B2E5-B9A612376F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50898" y="1918502"/>
            <a:ext cx="490871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5248021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03937" y="3429000"/>
            <a:ext cx="3024336" cy="3429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5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481D8A43-26C0-4F19-195B-DC10811183C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03937" y="0"/>
            <a:ext cx="3024336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2" name="Zástupný symbol obrázku 5">
            <a:extLst>
              <a:ext uri="{FF2B5EF4-FFF2-40B4-BE49-F238E27FC236}">
                <a16:creationId xmlns:a16="http://schemas.microsoft.com/office/drawing/2014/main" id="{718C012B-B3C7-8DDD-F0C5-9DE6C7C2CCB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200281" y="0"/>
            <a:ext cx="2975992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3" name="Zástupný symbol obrázku 5">
            <a:extLst>
              <a:ext uri="{FF2B5EF4-FFF2-40B4-BE49-F238E27FC236}">
                <a16:creationId xmlns:a16="http://schemas.microsoft.com/office/drawing/2014/main" id="{953DEFEB-09ED-9E58-EF97-921059EC70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200281" y="3429000"/>
            <a:ext cx="2975992" cy="3429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66DB134B-C8C4-ED9D-ECAA-BA0D3BE24F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0939" y="332656"/>
            <a:ext cx="5031005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9" name="Zástupný text 2">
            <a:extLst>
              <a:ext uri="{FF2B5EF4-FFF2-40B4-BE49-F238E27FC236}">
                <a16:creationId xmlns:a16="http://schemas.microsoft.com/office/drawing/2014/main" id="{91B7FDB3-283F-B7ED-C4C8-6DE20D6262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8682" y="1930049"/>
            <a:ext cx="502326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97724912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212976"/>
            <a:ext cx="12192000" cy="364502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5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E229C5F1-F978-7A97-F2F2-C2C8DEC8D0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B26B058F-4C24-C318-1E84-0729C2B541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7688" y="1738855"/>
            <a:ext cx="11009312" cy="1088821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02773266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212976"/>
            <a:ext cx="6048672" cy="364502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5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E229C5F1-F978-7A97-F2F2-C2C8DEC8D0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78DA8F50-FA33-1D19-B6C1-34ECF45C5D5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43330" y="3212976"/>
            <a:ext cx="6048672" cy="364502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8" name="Zástupný text 2">
            <a:extLst>
              <a:ext uri="{FF2B5EF4-FFF2-40B4-BE49-F238E27FC236}">
                <a16:creationId xmlns:a16="http://schemas.microsoft.com/office/drawing/2014/main" id="{C85BB8FE-0315-B0D3-D079-149C3C492EC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7688" y="1738855"/>
            <a:ext cx="11009312" cy="1088821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90976159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212976"/>
            <a:ext cx="3985120" cy="364502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5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E229C5F1-F978-7A97-F2F2-C2C8DEC8D0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8" name="Zástupný symbol obrázku 5">
            <a:extLst>
              <a:ext uri="{FF2B5EF4-FFF2-40B4-BE49-F238E27FC236}">
                <a16:creationId xmlns:a16="http://schemas.microsoft.com/office/drawing/2014/main" id="{CDCCAF09-131E-3E4C-BE38-ACEF58EAB7D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103440" y="3212976"/>
            <a:ext cx="3985120" cy="364502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5F3DE0BA-D7D0-8A00-E37E-03B82DC518E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206880" y="3202672"/>
            <a:ext cx="3985120" cy="364502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1" name="Zástupný text 2">
            <a:extLst>
              <a:ext uri="{FF2B5EF4-FFF2-40B4-BE49-F238E27FC236}">
                <a16:creationId xmlns:a16="http://schemas.microsoft.com/office/drawing/2014/main" id="{2637118B-9C7E-173F-E637-DEAF4CAAC30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7688" y="1738855"/>
            <a:ext cx="11009312" cy="1088821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51634930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e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7" descr="Text&#10;&#10;Description automatically generated with low confidence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92" y="489816"/>
            <a:ext cx="1584176" cy="63858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F05EA71-C82B-AA44-A4E8-85F0A5E0E09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6CE203-DE2C-6447-AC60-175A88E4C8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1235" y="2204864"/>
            <a:ext cx="6192837" cy="1439862"/>
          </a:xfrm>
          <a:prstGeom prst="rect">
            <a:avLst/>
          </a:prstGeom>
        </p:spPr>
        <p:txBody>
          <a:bodyPr/>
          <a:lstStyle>
            <a:lvl1pPr>
              <a:defRPr sz="42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2pPr>
            <a:lvl3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3pPr>
            <a:lvl4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4pPr>
            <a:lvl5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1AE5D401-F9B2-6641-97CF-0037D0D92A4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1384" y="4005064"/>
            <a:ext cx="3960812" cy="790575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A69235CD-E9C9-BD08-6F7F-570AE6AA2FA5}"/>
              </a:ext>
            </a:extLst>
          </p:cNvPr>
          <p:cNvSpPr/>
          <p:nvPr userDrawn="1"/>
        </p:nvSpPr>
        <p:spPr>
          <a:xfrm>
            <a:off x="11136560" y="6237312"/>
            <a:ext cx="576064" cy="504056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0494192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2E8A2A57-E282-417E-A9CC-C5F25AC7B6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9831D098-3A23-4173-B353-B67E47AD14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D098FBB-9788-4DFE-A210-B81E6FFAB5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9" name="Zástupný obsah 3">
            <a:extLst>
              <a:ext uri="{FF2B5EF4-FFF2-40B4-BE49-F238E27FC236}">
                <a16:creationId xmlns:a16="http://schemas.microsoft.com/office/drawing/2014/main" id="{EEE64CD4-6E58-47D3-8896-AD5AB901AD2C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419850" y="1796946"/>
            <a:ext cx="4897438" cy="3972029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5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500"/>
            </a:lvl2pPr>
            <a:lvl3pPr marL="360000" indent="-180000">
              <a:spcBef>
                <a:spcPts val="800"/>
              </a:spcBef>
              <a:defRPr sz="1500"/>
            </a:lvl3pPr>
            <a:lvl4pPr marL="540000" indent="-180000">
              <a:spcBef>
                <a:spcPts val="800"/>
              </a:spcBef>
              <a:defRPr sz="1500"/>
            </a:lvl4pPr>
            <a:lvl5pPr marL="720000" indent="-180000">
              <a:spcBef>
                <a:spcPts val="800"/>
              </a:spcBef>
              <a:defRPr sz="15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8" name="Zástupný obsah 3">
            <a:extLst>
              <a:ext uri="{FF2B5EF4-FFF2-40B4-BE49-F238E27FC236}">
                <a16:creationId xmlns:a16="http://schemas.microsoft.com/office/drawing/2014/main" id="{263EB879-1B80-4ADE-9CB6-096F0888135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92199" y="1808163"/>
            <a:ext cx="4464049" cy="396081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5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500"/>
            </a:lvl2pPr>
            <a:lvl3pPr marL="360000" indent="-180000">
              <a:spcBef>
                <a:spcPts val="800"/>
              </a:spcBef>
              <a:defRPr sz="1500"/>
            </a:lvl3pPr>
            <a:lvl4pPr marL="540000" indent="-180000">
              <a:spcBef>
                <a:spcPts val="800"/>
              </a:spcBef>
              <a:defRPr sz="1500"/>
            </a:lvl4pPr>
            <a:lvl5pPr marL="720000" indent="-180000">
              <a:spcBef>
                <a:spcPts val="800"/>
              </a:spcBef>
              <a:defRPr sz="15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9F483FC-3A09-4FD0-AEA1-9105EF9B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492939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00">
          <p15:clr>
            <a:srgbClr val="FBAE40"/>
          </p15:clr>
        </p15:guide>
        <p15:guide id="2" pos="4044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DF26109-1388-4147-8767-EB2B8918C6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299D419-FCC8-4085-B838-3BAEBDB88F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274DE8B-876E-4B3E-842D-BB967709EE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10" name="Zástupný linka 3">
            <a:extLst>
              <a:ext uri="{FF2B5EF4-FFF2-40B4-BE49-F238E27FC236}">
                <a16:creationId xmlns:a16="http://schemas.microsoft.com/office/drawing/2014/main" id="{A65DF875-140C-4AB9-9968-462AE4638E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67999" y="2215724"/>
            <a:ext cx="5292000" cy="109538"/>
          </a:xfrm>
          <a:solidFill>
            <a:schemeClr val="accent1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 sz="8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cs-CZ"/>
              <a:t> 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EFD0124B-3E7B-4F10-BF41-CF7CADACA7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252000" indent="-252000">
              <a:spcBef>
                <a:spcPts val="3600"/>
              </a:spcBef>
              <a:buClr>
                <a:schemeClr val="accent1"/>
              </a:buClr>
              <a:buFont typeface="Wingdings 2" panose="05020102010507070707" pitchFamily="18" charset="2"/>
              <a:buChar char=""/>
              <a:defRPr sz="2400" b="1"/>
            </a:lvl1pPr>
            <a:lvl2pPr>
              <a:spcBef>
                <a:spcPts val="3600"/>
              </a:spcBef>
              <a:buClr>
                <a:schemeClr val="accent2"/>
              </a:buClr>
              <a:defRPr sz="2400" b="1"/>
            </a:lvl2pPr>
            <a:lvl3pPr>
              <a:spcBef>
                <a:spcPts val="3600"/>
              </a:spcBef>
              <a:defRPr sz="2400" b="1"/>
            </a:lvl3pPr>
            <a:lvl4pPr>
              <a:spcBef>
                <a:spcPts val="3600"/>
              </a:spcBef>
              <a:defRPr sz="2400" b="1"/>
            </a:lvl4pPr>
            <a:lvl5pPr>
              <a:spcBef>
                <a:spcPts val="3600"/>
              </a:spcBef>
              <a:defRPr sz="2400" b="1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A3E564D-7459-4CB0-85DA-F83CFDEC52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92233144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73FFA9-F99A-BB4D-AC2C-595EB81D9B7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0862" y="1916113"/>
            <a:ext cx="10922001" cy="64633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6"/>
          <a:stretch/>
        </p:blipFill>
        <p:spPr>
          <a:xfrm>
            <a:off x="10920536" y="476672"/>
            <a:ext cx="639074" cy="641351"/>
          </a:xfrm>
          <a:prstGeom prst="rect">
            <a:avLst/>
          </a:prstGeom>
        </p:spPr>
      </p:pic>
      <p:sp>
        <p:nvSpPr>
          <p:cNvPr id="3" name="Zástupný text 2">
            <a:extLst>
              <a:ext uri="{FF2B5EF4-FFF2-40B4-BE49-F238E27FC236}">
                <a16:creationId xmlns:a16="http://schemas.microsoft.com/office/drawing/2014/main" id="{BB7D9004-A755-001A-6CC9-458F8341E16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0863" y="2852936"/>
            <a:ext cx="11009312" cy="1656878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800863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_obrázky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43472" y="980728"/>
            <a:ext cx="4360576" cy="230425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9" name="Zástupný symbol obrázku 5">
            <a:extLst>
              <a:ext uri="{FF2B5EF4-FFF2-40B4-BE49-F238E27FC236}">
                <a16:creationId xmlns:a16="http://schemas.microsoft.com/office/drawing/2014/main" id="{436FB165-3355-0608-17AA-55271C8520A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343472" y="3861048"/>
            <a:ext cx="4360576" cy="237626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7" name="Zástupný symbol obrázku 5">
            <a:extLst>
              <a:ext uri="{FF2B5EF4-FFF2-40B4-BE49-F238E27FC236}">
                <a16:creationId xmlns:a16="http://schemas.microsoft.com/office/drawing/2014/main" id="{8F5D8973-3623-56C4-F175-AA531064B70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839880" y="980728"/>
            <a:ext cx="4360576" cy="230425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8" name="Zástupný symbol obrázku 5">
            <a:extLst>
              <a:ext uri="{FF2B5EF4-FFF2-40B4-BE49-F238E27FC236}">
                <a16:creationId xmlns:a16="http://schemas.microsoft.com/office/drawing/2014/main" id="{B69B087A-BDA0-4CA2-449A-220C8A0CFC5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839880" y="3861048"/>
            <a:ext cx="4360576" cy="237626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0" name="Text Placeholder 21">
            <a:extLst>
              <a:ext uri="{FF2B5EF4-FFF2-40B4-BE49-F238E27FC236}">
                <a16:creationId xmlns:a16="http://schemas.microsoft.com/office/drawing/2014/main" id="{2BFD1512-966D-221D-D013-1D5926C29E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343472" y="62068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8DA5E481-C11E-8F62-C173-EB5E740CA92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839880" y="62068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DFB8C3E3-2FE9-B311-B7CF-01BBFF854D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346201" y="350100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F4DAA9EE-3EDA-EC4D-177C-25C6F8166D0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842609" y="350100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38207475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_obrázky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43472" y="980728"/>
            <a:ext cx="4360576" cy="230425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7" name="Zástupný symbol obrázku 5">
            <a:extLst>
              <a:ext uri="{FF2B5EF4-FFF2-40B4-BE49-F238E27FC236}">
                <a16:creationId xmlns:a16="http://schemas.microsoft.com/office/drawing/2014/main" id="{8F5D8973-3623-56C4-F175-AA531064B70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839880" y="980728"/>
            <a:ext cx="4360576" cy="230425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5DEC724E-C033-F047-E07F-A09C002E2A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346884" y="3789040"/>
            <a:ext cx="8853572" cy="244827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8" name="Text Placeholder 21">
            <a:extLst>
              <a:ext uri="{FF2B5EF4-FFF2-40B4-BE49-F238E27FC236}">
                <a16:creationId xmlns:a16="http://schemas.microsoft.com/office/drawing/2014/main" id="{F1F6C668-6FE5-FD98-0570-A9E9B52A58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343472" y="62068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9" name="Text Placeholder 21">
            <a:extLst>
              <a:ext uri="{FF2B5EF4-FFF2-40B4-BE49-F238E27FC236}">
                <a16:creationId xmlns:a16="http://schemas.microsoft.com/office/drawing/2014/main" id="{5FAE5FDF-3F80-54F4-CE26-DBE350647B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839880" y="62068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8B83B143-D77D-61B6-FBCF-F08314D2B28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343472" y="3429000"/>
            <a:ext cx="885357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40730558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ránka s fotko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0F265A4D-3619-6F13-4CB9-947AC0A970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81619" y="332656"/>
            <a:ext cx="4022893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7" name="Zástupný text 2">
            <a:extLst>
              <a:ext uri="{FF2B5EF4-FFF2-40B4-BE49-F238E27FC236}">
                <a16:creationId xmlns:a16="http://schemas.microsoft.com/office/drawing/2014/main" id="{F4C121A6-3D8E-FD24-AE30-7D21C7FCA8B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50898" y="1918502"/>
            <a:ext cx="490871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6227931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338004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0F265A4D-3619-6F13-4CB9-947AC0A970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81619" y="332656"/>
            <a:ext cx="4022893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7" name="Zástupný symbol obrázku 5">
            <a:extLst>
              <a:ext uri="{FF2B5EF4-FFF2-40B4-BE49-F238E27FC236}">
                <a16:creationId xmlns:a16="http://schemas.microsoft.com/office/drawing/2014/main" id="{C6D106E1-2BA3-6D0D-BE93-FAD81BEA0BC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3477954"/>
            <a:ext cx="6096000" cy="338004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8" name="Zástupný text 2">
            <a:extLst>
              <a:ext uri="{FF2B5EF4-FFF2-40B4-BE49-F238E27FC236}">
                <a16:creationId xmlns:a16="http://schemas.microsoft.com/office/drawing/2014/main" id="{96D3A5E4-D310-DB89-29F2-CCD1C5DFFA4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50898" y="1918502"/>
            <a:ext cx="490871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51938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ránka s fotko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5E8F0922-9B60-F37C-EBF9-66BDEC3461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0939" y="332656"/>
            <a:ext cx="5031005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908DA53C-6579-3BD0-5B5E-839900171CC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8682" y="1930049"/>
            <a:ext cx="502326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8647846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2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5E8F0922-9B60-F37C-EBF9-66BDEC3461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0939" y="332656"/>
            <a:ext cx="5031005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9" name="Zástupný symbol obrázku 5">
            <a:extLst>
              <a:ext uri="{FF2B5EF4-FFF2-40B4-BE49-F238E27FC236}">
                <a16:creationId xmlns:a16="http://schemas.microsoft.com/office/drawing/2014/main" id="{0D4A35CD-ECE1-9CD2-59DC-446B9844E7A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338004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3FBEC363-76F6-C438-912D-EF2FD2CD956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3477954"/>
            <a:ext cx="6096000" cy="338004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1" name="Zástupný text 2">
            <a:extLst>
              <a:ext uri="{FF2B5EF4-FFF2-40B4-BE49-F238E27FC236}">
                <a16:creationId xmlns:a16="http://schemas.microsoft.com/office/drawing/2014/main" id="{FEFA80A1-4C72-C7F2-49F5-D691657C986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8682" y="1930049"/>
            <a:ext cx="502326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80730052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3429000"/>
            <a:ext cx="6096000" cy="3429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0F265A4D-3619-6F13-4CB9-947AC0A970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0939" y="332656"/>
            <a:ext cx="5031005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481D8A43-26C0-4F19-195B-DC10811183C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3024336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2" name="Zástupný symbol obrázku 5">
            <a:extLst>
              <a:ext uri="{FF2B5EF4-FFF2-40B4-BE49-F238E27FC236}">
                <a16:creationId xmlns:a16="http://schemas.microsoft.com/office/drawing/2014/main" id="{718C012B-B3C7-8DDD-F0C5-9DE6C7C2CCB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192344" y="0"/>
            <a:ext cx="2975992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8" name="Zástupný text 2">
            <a:extLst>
              <a:ext uri="{FF2B5EF4-FFF2-40B4-BE49-F238E27FC236}">
                <a16:creationId xmlns:a16="http://schemas.microsoft.com/office/drawing/2014/main" id="{6829CAE9-7D98-E2FD-C921-54BA8CADC7D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8682" y="1930049"/>
            <a:ext cx="502326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464098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429000"/>
            <a:ext cx="6096000" cy="3429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481D8A43-26C0-4F19-195B-DC10811183C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024336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2" name="Zástupný symbol obrázku 5">
            <a:extLst>
              <a:ext uri="{FF2B5EF4-FFF2-40B4-BE49-F238E27FC236}">
                <a16:creationId xmlns:a16="http://schemas.microsoft.com/office/drawing/2014/main" id="{718C012B-B3C7-8DDD-F0C5-9DE6C7C2CCB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96344" y="0"/>
            <a:ext cx="2975992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A2696F3F-7A65-64A8-94F3-227A61117C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81619" y="332656"/>
            <a:ext cx="4022893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1" name="Zástupný text 2">
            <a:extLst>
              <a:ext uri="{FF2B5EF4-FFF2-40B4-BE49-F238E27FC236}">
                <a16:creationId xmlns:a16="http://schemas.microsoft.com/office/drawing/2014/main" id="{0B79C196-4283-06EE-E6EC-CDCF933B830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50898" y="1918502"/>
            <a:ext cx="490871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69904622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429000"/>
            <a:ext cx="3024336" cy="3429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481D8A43-26C0-4F19-195B-DC10811183C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024336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2" name="Zástupný symbol obrázku 5">
            <a:extLst>
              <a:ext uri="{FF2B5EF4-FFF2-40B4-BE49-F238E27FC236}">
                <a16:creationId xmlns:a16="http://schemas.microsoft.com/office/drawing/2014/main" id="{718C012B-B3C7-8DDD-F0C5-9DE6C7C2CCB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96344" y="0"/>
            <a:ext cx="2975992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A2696F3F-7A65-64A8-94F3-227A61117C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81619" y="332656"/>
            <a:ext cx="4022893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3" name="Zástupný symbol obrázku 5">
            <a:extLst>
              <a:ext uri="{FF2B5EF4-FFF2-40B4-BE49-F238E27FC236}">
                <a16:creationId xmlns:a16="http://schemas.microsoft.com/office/drawing/2014/main" id="{953DEFEB-09ED-9E58-EF97-921059EC70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96344" y="3429000"/>
            <a:ext cx="2975992" cy="3429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1" name="Zástupný text 2">
            <a:extLst>
              <a:ext uri="{FF2B5EF4-FFF2-40B4-BE49-F238E27FC236}">
                <a16:creationId xmlns:a16="http://schemas.microsoft.com/office/drawing/2014/main" id="{AF65E1E2-DCA5-AF05-B2E5-B9A612376F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50898" y="1918502"/>
            <a:ext cx="490871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42775080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73FFA9-F99A-BB4D-AC2C-595EB81D9B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2" y="1916113"/>
            <a:ext cx="7633370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6"/>
          <a:stretch/>
        </p:blipFill>
        <p:spPr>
          <a:xfrm>
            <a:off x="10920536" y="476672"/>
            <a:ext cx="639074" cy="641351"/>
          </a:xfrm>
          <a:prstGeom prst="rect">
            <a:avLst/>
          </a:prstGeom>
        </p:spPr>
      </p:pic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93116F34-349C-1FDE-6668-5945EEE32E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18355" y="1930447"/>
            <a:ext cx="3024859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9" name="Zástupný text 2">
            <a:extLst>
              <a:ext uri="{FF2B5EF4-FFF2-40B4-BE49-F238E27FC236}">
                <a16:creationId xmlns:a16="http://schemas.microsoft.com/office/drawing/2014/main" id="{105B5414-D604-2C67-9C40-9F29B7F3CF3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3" y="2852936"/>
            <a:ext cx="7633368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A6C8BD78-AF5D-FB02-6E05-A11CBACFAD2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518354" y="2852936"/>
            <a:ext cx="3024859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77019832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03937" y="3429000"/>
            <a:ext cx="3024336" cy="3429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481D8A43-26C0-4F19-195B-DC10811183C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03937" y="0"/>
            <a:ext cx="3024336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2" name="Zástupný symbol obrázku 5">
            <a:extLst>
              <a:ext uri="{FF2B5EF4-FFF2-40B4-BE49-F238E27FC236}">
                <a16:creationId xmlns:a16="http://schemas.microsoft.com/office/drawing/2014/main" id="{718C012B-B3C7-8DDD-F0C5-9DE6C7C2CCB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200281" y="0"/>
            <a:ext cx="2975992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3" name="Zástupný symbol obrázku 5">
            <a:extLst>
              <a:ext uri="{FF2B5EF4-FFF2-40B4-BE49-F238E27FC236}">
                <a16:creationId xmlns:a16="http://schemas.microsoft.com/office/drawing/2014/main" id="{953DEFEB-09ED-9E58-EF97-921059EC70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200281" y="3429000"/>
            <a:ext cx="2975992" cy="3429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66DB134B-C8C4-ED9D-ECAA-BA0D3BE24F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0939" y="332656"/>
            <a:ext cx="5031005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9" name="Zástupný text 2">
            <a:extLst>
              <a:ext uri="{FF2B5EF4-FFF2-40B4-BE49-F238E27FC236}">
                <a16:creationId xmlns:a16="http://schemas.microsoft.com/office/drawing/2014/main" id="{91B7FDB3-283F-B7ED-C4C8-6DE20D6262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8682" y="1930049"/>
            <a:ext cx="502326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223577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212976"/>
            <a:ext cx="12192000" cy="364502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E229C5F1-F978-7A97-F2F2-C2C8DEC8D0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B26B058F-4C24-C318-1E84-0729C2B541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7688" y="1738855"/>
            <a:ext cx="11009312" cy="1088821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5641412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212976"/>
            <a:ext cx="6048672" cy="364502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E229C5F1-F978-7A97-F2F2-C2C8DEC8D0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78DA8F50-FA33-1D19-B6C1-34ECF45C5D5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43330" y="3212976"/>
            <a:ext cx="6048672" cy="364502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8" name="Zástupný text 2">
            <a:extLst>
              <a:ext uri="{FF2B5EF4-FFF2-40B4-BE49-F238E27FC236}">
                <a16:creationId xmlns:a16="http://schemas.microsoft.com/office/drawing/2014/main" id="{C85BB8FE-0315-B0D3-D079-149C3C492EC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7688" y="1738855"/>
            <a:ext cx="11009312" cy="1088821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8461155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212976"/>
            <a:ext cx="3985120" cy="364502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E229C5F1-F978-7A97-F2F2-C2C8DEC8D0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8" name="Zástupný symbol obrázku 5">
            <a:extLst>
              <a:ext uri="{FF2B5EF4-FFF2-40B4-BE49-F238E27FC236}">
                <a16:creationId xmlns:a16="http://schemas.microsoft.com/office/drawing/2014/main" id="{CDCCAF09-131E-3E4C-BE38-ACEF58EAB7D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103440" y="3212976"/>
            <a:ext cx="3985120" cy="364502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5F3DE0BA-D7D0-8A00-E37E-03B82DC518E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206880" y="3202672"/>
            <a:ext cx="3985120" cy="364502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1" name="Zástupný text 2">
            <a:extLst>
              <a:ext uri="{FF2B5EF4-FFF2-40B4-BE49-F238E27FC236}">
                <a16:creationId xmlns:a16="http://schemas.microsoft.com/office/drawing/2014/main" id="{2637118B-9C7E-173F-E637-DEAF4CAAC30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7688" y="1738855"/>
            <a:ext cx="11009312" cy="1088821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1308655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e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7" descr="Text&#10;&#10;Description automatically generated with low confidence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92" y="489816"/>
            <a:ext cx="1584176" cy="63858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F05EA71-C82B-AA44-A4E8-85F0A5E0E09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6CE203-DE2C-6447-AC60-175A88E4C8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1235" y="2204864"/>
            <a:ext cx="6192837" cy="1439862"/>
          </a:xfrm>
          <a:prstGeom prst="rect">
            <a:avLst/>
          </a:prstGeom>
        </p:spPr>
        <p:txBody>
          <a:bodyPr/>
          <a:lstStyle>
            <a:lvl1pPr>
              <a:defRPr sz="42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2pPr>
            <a:lvl3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3pPr>
            <a:lvl4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4pPr>
            <a:lvl5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1AE5D401-F9B2-6641-97CF-0037D0D92A4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1384" y="4005064"/>
            <a:ext cx="3960812" cy="790575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A69235CD-E9C9-BD08-6F7F-570AE6AA2FA5}"/>
              </a:ext>
            </a:extLst>
          </p:cNvPr>
          <p:cNvSpPr/>
          <p:nvPr userDrawn="1"/>
        </p:nvSpPr>
        <p:spPr>
          <a:xfrm>
            <a:off x="11136560" y="6237312"/>
            <a:ext cx="576064" cy="504056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997823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73FFA9-F99A-BB4D-AC2C-595EB81D9B7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0862" y="1916113"/>
            <a:ext cx="10922001" cy="64633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6"/>
          <a:stretch/>
        </p:blipFill>
        <p:spPr>
          <a:xfrm>
            <a:off x="10920536" y="476672"/>
            <a:ext cx="639074" cy="641351"/>
          </a:xfrm>
          <a:prstGeom prst="rect">
            <a:avLst/>
          </a:prstGeom>
        </p:spPr>
      </p:pic>
      <p:sp>
        <p:nvSpPr>
          <p:cNvPr id="3" name="Zástupný text 2">
            <a:extLst>
              <a:ext uri="{FF2B5EF4-FFF2-40B4-BE49-F238E27FC236}">
                <a16:creationId xmlns:a16="http://schemas.microsoft.com/office/drawing/2014/main" id="{BB7D9004-A755-001A-6CC9-458F8341E16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0863" y="2852936"/>
            <a:ext cx="11009312" cy="1656878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528372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>
            <a:extLst>
              <a:ext uri="{FF2B5EF4-FFF2-40B4-BE49-F238E27FC236}">
                <a16:creationId xmlns:a16="http://schemas.microsoft.com/office/drawing/2014/main" id="{E2E87EAA-51F0-067F-FAA6-5E9927829B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322"/>
          <a:stretch/>
        </p:blipFill>
        <p:spPr>
          <a:xfrm>
            <a:off x="5159896" y="0"/>
            <a:ext cx="7032104" cy="6858000"/>
          </a:xfrm>
          <a:prstGeom prst="rect">
            <a:avLst/>
          </a:prstGeom>
        </p:spPr>
      </p:pic>
      <p:pic>
        <p:nvPicPr>
          <p:cNvPr id="10" name="Picture 7" descr="Text&#10;&#10;Description automatically generated with low confidence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92" y="489816"/>
            <a:ext cx="1584176" cy="638583"/>
          </a:xfrm>
          <a:prstGeom prst="rect">
            <a:avLst/>
          </a:prstGeom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E2C9BB94-3B38-D149-AA59-8FBB1C2F637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1384" y="2204864"/>
            <a:ext cx="6192837" cy="1439862"/>
          </a:xfrm>
          <a:prstGeom prst="rect">
            <a:avLst/>
          </a:prstGeom>
        </p:spPr>
        <p:txBody>
          <a:bodyPr/>
          <a:lstStyle>
            <a:lvl1pPr>
              <a:defRPr sz="42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2pPr>
            <a:lvl3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3pPr>
            <a:lvl4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4pPr>
            <a:lvl5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5E38A212-C36F-7144-9D37-90118F79618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1384" y="3933056"/>
            <a:ext cx="3960812" cy="790575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412E00C7-8B18-2C9D-7073-7808A5FBEA53}"/>
              </a:ext>
            </a:extLst>
          </p:cNvPr>
          <p:cNvSpPr/>
          <p:nvPr userDrawn="1"/>
        </p:nvSpPr>
        <p:spPr>
          <a:xfrm>
            <a:off x="11208568" y="6237312"/>
            <a:ext cx="576064" cy="504056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CZ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3842475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>
            <a:extLst>
              <a:ext uri="{FF2B5EF4-FFF2-40B4-BE49-F238E27FC236}">
                <a16:creationId xmlns:a16="http://schemas.microsoft.com/office/drawing/2014/main" id="{E2E87EAA-51F0-067F-FAA6-5E9927829B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896" y="0"/>
            <a:ext cx="7032104" cy="6858000"/>
          </a:xfrm>
          <a:prstGeom prst="rect">
            <a:avLst/>
          </a:prstGeom>
        </p:spPr>
      </p:pic>
      <p:pic>
        <p:nvPicPr>
          <p:cNvPr id="10" name="Picture 7" descr="Text&#10;&#10;Description automatically generated with low confidence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92" y="489816"/>
            <a:ext cx="1584176" cy="638583"/>
          </a:xfrm>
          <a:prstGeom prst="rect">
            <a:avLst/>
          </a:prstGeom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E2C9BB94-3B38-D149-AA59-8FBB1C2F637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1384" y="2204864"/>
            <a:ext cx="6192837" cy="1439862"/>
          </a:xfrm>
          <a:prstGeom prst="rect">
            <a:avLst/>
          </a:prstGeom>
        </p:spPr>
        <p:txBody>
          <a:bodyPr/>
          <a:lstStyle>
            <a:lvl1pPr>
              <a:defRPr sz="42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2pPr>
            <a:lvl3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3pPr>
            <a:lvl4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4pPr>
            <a:lvl5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5E38A212-C36F-7144-9D37-90118F79618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1384" y="3933056"/>
            <a:ext cx="3960812" cy="790575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412E00C7-8B18-2C9D-7073-7808A5FBEA53}"/>
              </a:ext>
            </a:extLst>
          </p:cNvPr>
          <p:cNvSpPr/>
          <p:nvPr userDrawn="1"/>
        </p:nvSpPr>
        <p:spPr>
          <a:xfrm>
            <a:off x="11208568" y="6237312"/>
            <a:ext cx="576064" cy="504056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CZ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70736664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57120"/>
            <a:ext cx="10298111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596"/>
          <a:stretch/>
        </p:blipFill>
        <p:spPr>
          <a:xfrm>
            <a:off x="10920536" y="476672"/>
            <a:ext cx="639074" cy="641351"/>
          </a:xfrm>
          <a:prstGeom prst="rect">
            <a:avLst/>
          </a:prstGeom>
        </p:spPr>
      </p:pic>
      <p:sp>
        <p:nvSpPr>
          <p:cNvPr id="6" name="Text Placeholder 19">
            <a:extLst>
              <a:ext uri="{FF2B5EF4-FFF2-40B4-BE49-F238E27FC236}">
                <a16:creationId xmlns:a16="http://schemas.microsoft.com/office/drawing/2014/main" id="{AD1ED3B7-42DB-F308-0499-1C88F389A4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0862" y="1916113"/>
            <a:ext cx="10922001" cy="64633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  <p:sp>
        <p:nvSpPr>
          <p:cNvPr id="7" name="Zástupný text 2">
            <a:extLst>
              <a:ext uri="{FF2B5EF4-FFF2-40B4-BE49-F238E27FC236}">
                <a16:creationId xmlns:a16="http://schemas.microsoft.com/office/drawing/2014/main" id="{59088635-C4A2-5DE7-C005-B34DB130725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0863" y="2852936"/>
            <a:ext cx="11009312" cy="1656878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03021070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73FFA9-F99A-BB4D-AC2C-595EB81D9B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2" y="1916113"/>
            <a:ext cx="7633370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 dirty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596"/>
          <a:stretch/>
        </p:blipFill>
        <p:spPr>
          <a:xfrm>
            <a:off x="10920536" y="476672"/>
            <a:ext cx="639074" cy="641351"/>
          </a:xfrm>
          <a:prstGeom prst="rect">
            <a:avLst/>
          </a:prstGeom>
        </p:spPr>
      </p:pic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93116F34-349C-1FDE-6668-5945EEE32E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18355" y="1930447"/>
            <a:ext cx="3024859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 dirty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9" name="Zástupný text 2">
            <a:extLst>
              <a:ext uri="{FF2B5EF4-FFF2-40B4-BE49-F238E27FC236}">
                <a16:creationId xmlns:a16="http://schemas.microsoft.com/office/drawing/2014/main" id="{105B5414-D604-2C67-9C40-9F29B7F3CF3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3" y="2852936"/>
            <a:ext cx="7633368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A6C8BD78-AF5D-FB02-6E05-A11CBACFAD2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518354" y="2852936"/>
            <a:ext cx="3024859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9783626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va obsah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73FFA9-F99A-BB4D-AC2C-595EB81D9B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2" y="1916113"/>
            <a:ext cx="5329115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6"/>
          <a:stretch/>
        </p:blipFill>
        <p:spPr>
          <a:xfrm>
            <a:off x="10920536" y="476672"/>
            <a:ext cx="639074" cy="641351"/>
          </a:xfrm>
          <a:prstGeom prst="rect">
            <a:avLst/>
          </a:prstGeom>
        </p:spPr>
      </p:pic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93116F34-349C-1FDE-6668-5945EEE32E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67485" y="1930447"/>
            <a:ext cx="5329115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9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3" y="2852936"/>
            <a:ext cx="5329114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F98EC4A4-0E88-8EBD-0A2A-CA1D4D7A94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67485" y="2854500"/>
            <a:ext cx="5329114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95719765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va obsah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73FFA9-F99A-BB4D-AC2C-595EB81D9B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2" y="1916113"/>
            <a:ext cx="5329115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 dirty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596"/>
          <a:stretch/>
        </p:blipFill>
        <p:spPr>
          <a:xfrm>
            <a:off x="10920536" y="476672"/>
            <a:ext cx="639074" cy="641351"/>
          </a:xfrm>
          <a:prstGeom prst="rect">
            <a:avLst/>
          </a:prstGeom>
        </p:spPr>
      </p:pic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93116F34-349C-1FDE-6668-5945EEE32E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67485" y="1930447"/>
            <a:ext cx="5329115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 dirty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9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3" y="2852936"/>
            <a:ext cx="5329114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F98EC4A4-0E88-8EBD-0A2A-CA1D4D7A94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67485" y="2854500"/>
            <a:ext cx="5329114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60791754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ři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73FFA9-F99A-BB4D-AC2C-595EB81D9B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1916113"/>
            <a:ext cx="3456906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 dirty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596"/>
          <a:stretch/>
        </p:blipFill>
        <p:spPr>
          <a:xfrm>
            <a:off x="10920536" y="476672"/>
            <a:ext cx="639074" cy="641351"/>
          </a:xfrm>
          <a:prstGeom prst="rect">
            <a:avLst/>
          </a:prstGeom>
        </p:spPr>
      </p:pic>
      <p:sp>
        <p:nvSpPr>
          <p:cNvPr id="13" name="Text Placeholder 19">
            <a:extLst>
              <a:ext uri="{FF2B5EF4-FFF2-40B4-BE49-F238E27FC236}">
                <a16:creationId xmlns:a16="http://schemas.microsoft.com/office/drawing/2014/main" id="{0AE1F90D-7037-11D7-076F-425EF0C965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6782" y="1916113"/>
            <a:ext cx="3456906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 dirty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16" name="Text Placeholder 19">
            <a:extLst>
              <a:ext uri="{FF2B5EF4-FFF2-40B4-BE49-F238E27FC236}">
                <a16:creationId xmlns:a16="http://schemas.microsoft.com/office/drawing/2014/main" id="{E4190888-F957-A546-F6D6-C49AB95D143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02704" y="1916113"/>
            <a:ext cx="3456906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 dirty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173E74EB-A934-6963-C407-AB4B32DCF65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50863" y="2852936"/>
            <a:ext cx="3456902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  <p:sp>
        <p:nvSpPr>
          <p:cNvPr id="11" name="Zástupný text 2">
            <a:extLst>
              <a:ext uri="{FF2B5EF4-FFF2-40B4-BE49-F238E27FC236}">
                <a16:creationId xmlns:a16="http://schemas.microsoft.com/office/drawing/2014/main" id="{839157F3-F208-29FD-6B5C-06C1ECE6091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26782" y="2852936"/>
            <a:ext cx="3456902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  <p:sp>
        <p:nvSpPr>
          <p:cNvPr id="17" name="Zástupný text 2">
            <a:extLst>
              <a:ext uri="{FF2B5EF4-FFF2-40B4-BE49-F238E27FC236}">
                <a16:creationId xmlns:a16="http://schemas.microsoft.com/office/drawing/2014/main" id="{0B242EDF-5B3C-5356-1CCB-C122EF7B110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02708" y="2852936"/>
            <a:ext cx="3456902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08832151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73FFA9-F99A-BB4D-AC2C-595EB81D9B7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0862" y="1916113"/>
            <a:ext cx="5041083" cy="8648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596"/>
          <a:stretch/>
        </p:blipFill>
        <p:spPr>
          <a:xfrm>
            <a:off x="10920536" y="476672"/>
            <a:ext cx="639074" cy="641351"/>
          </a:xfrm>
          <a:prstGeom prst="rect">
            <a:avLst/>
          </a:prstGeom>
        </p:spPr>
      </p:pic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93116F34-349C-1FDE-6668-5945EEE32EF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18527" y="1930447"/>
            <a:ext cx="5041083" cy="8648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  <p:sp>
        <p:nvSpPr>
          <p:cNvPr id="53" name="Rovnoramenný trojúhelník 51">
            <a:extLst>
              <a:ext uri="{FF2B5EF4-FFF2-40B4-BE49-F238E27FC236}">
                <a16:creationId xmlns:a16="http://schemas.microsoft.com/office/drawing/2014/main" id="{27BC23DB-6645-12C3-D39D-15D9667188D9}"/>
              </a:ext>
            </a:extLst>
          </p:cNvPr>
          <p:cNvSpPr/>
          <p:nvPr userDrawn="1"/>
        </p:nvSpPr>
        <p:spPr>
          <a:xfrm rot="5400000">
            <a:off x="5871690" y="3365278"/>
            <a:ext cx="374705" cy="214117"/>
          </a:xfrm>
          <a:custGeom>
            <a:avLst/>
            <a:gdLst>
              <a:gd name="connsiteX0" fmla="*/ 0 w 1060704"/>
              <a:gd name="connsiteY0" fmla="*/ 914400 h 914400"/>
              <a:gd name="connsiteX1" fmla="*/ 530352 w 1060704"/>
              <a:gd name="connsiteY1" fmla="*/ 0 h 914400"/>
              <a:gd name="connsiteX2" fmla="*/ 1060704 w 1060704"/>
              <a:gd name="connsiteY2" fmla="*/ 914400 h 914400"/>
              <a:gd name="connsiteX3" fmla="*/ 0 w 1060704"/>
              <a:gd name="connsiteY3" fmla="*/ 914400 h 914400"/>
              <a:gd name="connsiteX0" fmla="*/ 0 w 1060704"/>
              <a:gd name="connsiteY0" fmla="*/ 914400 h 921103"/>
              <a:gd name="connsiteX1" fmla="*/ 530352 w 1060704"/>
              <a:gd name="connsiteY1" fmla="*/ 0 h 921103"/>
              <a:gd name="connsiteX2" fmla="*/ 1060704 w 1060704"/>
              <a:gd name="connsiteY2" fmla="*/ 914400 h 921103"/>
              <a:gd name="connsiteX3" fmla="*/ 516811 w 1060704"/>
              <a:gd name="connsiteY3" fmla="*/ 921103 h 921103"/>
              <a:gd name="connsiteX4" fmla="*/ 0 w 1060704"/>
              <a:gd name="connsiteY4" fmla="*/ 914400 h 921103"/>
              <a:gd name="connsiteX0" fmla="*/ 0 w 1060704"/>
              <a:gd name="connsiteY0" fmla="*/ 914400 h 914400"/>
              <a:gd name="connsiteX1" fmla="*/ 530352 w 1060704"/>
              <a:gd name="connsiteY1" fmla="*/ 0 h 914400"/>
              <a:gd name="connsiteX2" fmla="*/ 1060704 w 1060704"/>
              <a:gd name="connsiteY2" fmla="*/ 914400 h 914400"/>
              <a:gd name="connsiteX3" fmla="*/ 0 w 1060704"/>
              <a:gd name="connsiteY3" fmla="*/ 914400 h 914400"/>
              <a:gd name="connsiteX0" fmla="*/ 0 w 1060704"/>
              <a:gd name="connsiteY0" fmla="*/ 914400 h 914410"/>
              <a:gd name="connsiteX1" fmla="*/ 530352 w 1060704"/>
              <a:gd name="connsiteY1" fmla="*/ 0 h 914410"/>
              <a:gd name="connsiteX2" fmla="*/ 1060704 w 1060704"/>
              <a:gd name="connsiteY2" fmla="*/ 914400 h 914410"/>
              <a:gd name="connsiteX3" fmla="*/ 512318 w 1060704"/>
              <a:gd name="connsiteY3" fmla="*/ 789316 h 914410"/>
              <a:gd name="connsiteX4" fmla="*/ 0 w 1060704"/>
              <a:gd name="connsiteY4" fmla="*/ 914400 h 914410"/>
              <a:gd name="connsiteX0" fmla="*/ 0 w 1060704"/>
              <a:gd name="connsiteY0" fmla="*/ 914400 h 914410"/>
              <a:gd name="connsiteX1" fmla="*/ 530352 w 1060704"/>
              <a:gd name="connsiteY1" fmla="*/ 0 h 914410"/>
              <a:gd name="connsiteX2" fmla="*/ 1060704 w 1060704"/>
              <a:gd name="connsiteY2" fmla="*/ 914400 h 914410"/>
              <a:gd name="connsiteX3" fmla="*/ 512318 w 1060704"/>
              <a:gd name="connsiteY3" fmla="*/ 789316 h 914410"/>
              <a:gd name="connsiteX4" fmla="*/ 0 w 1060704"/>
              <a:gd name="connsiteY4" fmla="*/ 914400 h 914410"/>
              <a:gd name="connsiteX0" fmla="*/ 0 w 1060704"/>
              <a:gd name="connsiteY0" fmla="*/ 914400 h 914408"/>
              <a:gd name="connsiteX1" fmla="*/ 530352 w 1060704"/>
              <a:gd name="connsiteY1" fmla="*/ 0 h 914408"/>
              <a:gd name="connsiteX2" fmla="*/ 1060704 w 1060704"/>
              <a:gd name="connsiteY2" fmla="*/ 914400 h 914408"/>
              <a:gd name="connsiteX3" fmla="*/ 512318 w 1060704"/>
              <a:gd name="connsiteY3" fmla="*/ 789316 h 914408"/>
              <a:gd name="connsiteX4" fmla="*/ 0 w 1060704"/>
              <a:gd name="connsiteY4" fmla="*/ 914400 h 914408"/>
              <a:gd name="connsiteX0" fmla="*/ 0 w 1060704"/>
              <a:gd name="connsiteY0" fmla="*/ 914400 h 914403"/>
              <a:gd name="connsiteX1" fmla="*/ 530352 w 1060704"/>
              <a:gd name="connsiteY1" fmla="*/ 0 h 914403"/>
              <a:gd name="connsiteX2" fmla="*/ 1060704 w 1060704"/>
              <a:gd name="connsiteY2" fmla="*/ 914400 h 914403"/>
              <a:gd name="connsiteX3" fmla="*/ 519907 w 1060704"/>
              <a:gd name="connsiteY3" fmla="*/ 519858 h 914403"/>
              <a:gd name="connsiteX4" fmla="*/ 0 w 1060704"/>
              <a:gd name="connsiteY4" fmla="*/ 914400 h 914403"/>
              <a:gd name="connsiteX0" fmla="*/ 0 w 1060704"/>
              <a:gd name="connsiteY0" fmla="*/ 914400 h 914401"/>
              <a:gd name="connsiteX1" fmla="*/ 530352 w 1060704"/>
              <a:gd name="connsiteY1" fmla="*/ 0 h 914401"/>
              <a:gd name="connsiteX2" fmla="*/ 1060704 w 1060704"/>
              <a:gd name="connsiteY2" fmla="*/ 914400 h 914401"/>
              <a:gd name="connsiteX3" fmla="*/ 531297 w 1060704"/>
              <a:gd name="connsiteY3" fmla="*/ 3710 h 914401"/>
              <a:gd name="connsiteX4" fmla="*/ 0 w 1060704"/>
              <a:gd name="connsiteY4" fmla="*/ 914400 h 914401"/>
              <a:gd name="connsiteX0" fmla="*/ 0 w 1060704"/>
              <a:gd name="connsiteY0" fmla="*/ 914400 h 914399"/>
              <a:gd name="connsiteX1" fmla="*/ 530352 w 1060704"/>
              <a:gd name="connsiteY1" fmla="*/ 0 h 914399"/>
              <a:gd name="connsiteX2" fmla="*/ 1060704 w 1060704"/>
              <a:gd name="connsiteY2" fmla="*/ 914400 h 914399"/>
              <a:gd name="connsiteX3" fmla="*/ 531297 w 1060704"/>
              <a:gd name="connsiteY3" fmla="*/ 3710 h 914399"/>
              <a:gd name="connsiteX4" fmla="*/ 0 w 1060704"/>
              <a:gd name="connsiteY4" fmla="*/ 914400 h 914399"/>
              <a:gd name="connsiteX0" fmla="*/ 0 w 1060704"/>
              <a:gd name="connsiteY0" fmla="*/ 914400 h 914401"/>
              <a:gd name="connsiteX1" fmla="*/ 530352 w 1060704"/>
              <a:gd name="connsiteY1" fmla="*/ 0 h 914401"/>
              <a:gd name="connsiteX2" fmla="*/ 1060704 w 1060704"/>
              <a:gd name="connsiteY2" fmla="*/ 914400 h 914401"/>
              <a:gd name="connsiteX3" fmla="*/ 531297 w 1060704"/>
              <a:gd name="connsiteY3" fmla="*/ 3710 h 914401"/>
              <a:gd name="connsiteX4" fmla="*/ 0 w 1060704"/>
              <a:gd name="connsiteY4" fmla="*/ 914400 h 9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0704" h="914401">
                <a:moveTo>
                  <a:pt x="0" y="914400"/>
                </a:moveTo>
                <a:lnTo>
                  <a:pt x="530352" y="0"/>
                </a:lnTo>
                <a:lnTo>
                  <a:pt x="1060704" y="914400"/>
                </a:lnTo>
                <a:cubicBezTo>
                  <a:pt x="1043633" y="904331"/>
                  <a:pt x="533192" y="-1403"/>
                  <a:pt x="531297" y="3710"/>
                </a:cubicBezTo>
                <a:cubicBezTo>
                  <a:pt x="531312" y="-139"/>
                  <a:pt x="18968" y="884091"/>
                  <a:pt x="0" y="914400"/>
                </a:cubicBezTo>
                <a:close/>
              </a:path>
            </a:pathLst>
          </a:custGeom>
          <a:noFill/>
          <a:ln w="34925">
            <a:solidFill>
              <a:schemeClr val="accent1"/>
            </a:solidFill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cs-CZ" dirty="0"/>
          </a:p>
        </p:txBody>
      </p:sp>
      <p:sp>
        <p:nvSpPr>
          <p:cNvPr id="9" name="Zástupný text 2">
            <a:extLst>
              <a:ext uri="{FF2B5EF4-FFF2-40B4-BE49-F238E27FC236}">
                <a16:creationId xmlns:a16="http://schemas.microsoft.com/office/drawing/2014/main" id="{7BACBAD4-6DA3-FC34-9EBE-50400CF3C80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50862" y="2852936"/>
            <a:ext cx="5041081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67CAEF5D-8A72-3ED8-0DF0-628C1A02348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518527" y="2862278"/>
            <a:ext cx="5041081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54372259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á strán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DAE7AB3-9B6E-BF47-BB76-1CC7504E66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7" descr="Text&#10;&#10;Description automatically generated with low confidence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92" y="489816"/>
            <a:ext cx="1584176" cy="638583"/>
          </a:xfrm>
          <a:prstGeom prst="rect">
            <a:avLst/>
          </a:prstGeom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E78311E9-823A-C345-B582-8BE42DF1DB8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1384" y="2204864"/>
            <a:ext cx="6192837" cy="1439862"/>
          </a:xfrm>
          <a:prstGeom prst="rect">
            <a:avLst/>
          </a:prstGeom>
        </p:spPr>
        <p:txBody>
          <a:bodyPr/>
          <a:lstStyle>
            <a:lvl1pPr>
              <a:defRPr sz="42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2pPr>
            <a:lvl3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3pPr>
            <a:lvl4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4pPr>
            <a:lvl5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E20F95B7-E9A7-E44D-9B6C-84F2432512B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1384" y="4006577"/>
            <a:ext cx="3960812" cy="790575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01F90324-8788-09F4-3BA0-EC9EB6C21700}"/>
              </a:ext>
            </a:extLst>
          </p:cNvPr>
          <p:cNvSpPr/>
          <p:nvPr userDrawn="1"/>
        </p:nvSpPr>
        <p:spPr>
          <a:xfrm>
            <a:off x="11136560" y="6237312"/>
            <a:ext cx="576064" cy="504056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51082991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ka_a_titul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3392" y="1628800"/>
            <a:ext cx="10936218" cy="460851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cs-CZ" dirty="0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0F265A4D-3619-6F13-4CB9-947AC0A970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1383" y="332656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341596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_obrázk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83686" y="1700809"/>
            <a:ext cx="2340992" cy="418051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cs-CZ" dirty="0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7" name="Zástupný symbol obrázku 5">
            <a:extLst>
              <a:ext uri="{FF2B5EF4-FFF2-40B4-BE49-F238E27FC236}">
                <a16:creationId xmlns:a16="http://schemas.microsoft.com/office/drawing/2014/main" id="{C0814DBB-8071-67A4-174A-6351EE21F52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538984" y="1700809"/>
            <a:ext cx="2340992" cy="418051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cs-CZ" dirty="0"/>
          </a:p>
        </p:txBody>
      </p:sp>
      <p:sp>
        <p:nvSpPr>
          <p:cNvPr id="8" name="Zástupný symbol obrázku 5">
            <a:extLst>
              <a:ext uri="{FF2B5EF4-FFF2-40B4-BE49-F238E27FC236}">
                <a16:creationId xmlns:a16="http://schemas.microsoft.com/office/drawing/2014/main" id="{67167C5F-EDD1-C832-F5F8-B4EF62F8211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03280" y="1700808"/>
            <a:ext cx="2340992" cy="418051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cs-CZ" dirty="0"/>
          </a:p>
        </p:txBody>
      </p:sp>
      <p:sp>
        <p:nvSpPr>
          <p:cNvPr id="9" name="Zástupný symbol obrázku 5">
            <a:extLst>
              <a:ext uri="{FF2B5EF4-FFF2-40B4-BE49-F238E27FC236}">
                <a16:creationId xmlns:a16="http://schemas.microsoft.com/office/drawing/2014/main" id="{4F4E371C-FF85-034C-CE97-02118F8BCAB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867576" y="1700808"/>
            <a:ext cx="2340992" cy="418051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cs-CZ" dirty="0"/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893F3FA6-92AB-6241-CAA8-95BBA203DA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3686" y="1340768"/>
            <a:ext cx="234099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en-US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E384EC8A-803F-50CF-E7EA-271BB97F0E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538984" y="1340768"/>
            <a:ext cx="234099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en-US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BC8D0283-37C0-F910-154D-8138A9CF911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03280" y="1340768"/>
            <a:ext cx="234099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en-US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DC0D5987-1A9D-5E81-E756-0F9A83AE7B2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867576" y="1340768"/>
            <a:ext cx="234099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en-US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632534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_obrázk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59360" y="1484784"/>
            <a:ext cx="3124082" cy="446854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cs-CZ" dirty="0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7" name="Zástupný symbol obrázku 5">
            <a:extLst>
              <a:ext uri="{FF2B5EF4-FFF2-40B4-BE49-F238E27FC236}">
                <a16:creationId xmlns:a16="http://schemas.microsoft.com/office/drawing/2014/main" id="{C0814DBB-8071-67A4-174A-6351EE21F52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499466" y="1481054"/>
            <a:ext cx="3124082" cy="446854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cs-CZ" dirty="0"/>
          </a:p>
        </p:txBody>
      </p:sp>
      <p:sp>
        <p:nvSpPr>
          <p:cNvPr id="8" name="Zástupný symbol obrázku 5">
            <a:extLst>
              <a:ext uri="{FF2B5EF4-FFF2-40B4-BE49-F238E27FC236}">
                <a16:creationId xmlns:a16="http://schemas.microsoft.com/office/drawing/2014/main" id="{67167C5F-EDD1-C832-F5F8-B4EF62F8211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839572" y="1484783"/>
            <a:ext cx="3068606" cy="446854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cs-CZ" dirty="0"/>
          </a:p>
        </p:txBody>
      </p:sp>
      <p:sp>
        <p:nvSpPr>
          <p:cNvPr id="9" name="Text Placeholder 21">
            <a:extLst>
              <a:ext uri="{FF2B5EF4-FFF2-40B4-BE49-F238E27FC236}">
                <a16:creationId xmlns:a16="http://schemas.microsoft.com/office/drawing/2014/main" id="{91730CE2-54CA-7822-FC69-21FD079EDD1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59360" y="1121014"/>
            <a:ext cx="312408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en-US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  <p:sp>
        <p:nvSpPr>
          <p:cNvPr id="10" name="Text Placeholder 21">
            <a:extLst>
              <a:ext uri="{FF2B5EF4-FFF2-40B4-BE49-F238E27FC236}">
                <a16:creationId xmlns:a16="http://schemas.microsoft.com/office/drawing/2014/main" id="{DB2BF174-208D-4CAA-964B-B20D4BF252B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99466" y="1121014"/>
            <a:ext cx="312408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en-US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1E70D5AD-B0EC-A0CA-BA0C-514CBDF39E9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39572" y="1121014"/>
            <a:ext cx="3068606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en-US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903806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_obrázky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5400" y="980728"/>
            <a:ext cx="4360576" cy="223224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cs-CZ" dirty="0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9" name="Zástupný symbol obrázku 5">
            <a:extLst>
              <a:ext uri="{FF2B5EF4-FFF2-40B4-BE49-F238E27FC236}">
                <a16:creationId xmlns:a16="http://schemas.microsoft.com/office/drawing/2014/main" id="{436FB165-3355-0608-17AA-55271C8520A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5400" y="3717032"/>
            <a:ext cx="4360576" cy="2304256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cs-CZ" dirty="0"/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B63CCBDE-E186-7A2F-6229-94CA73D7B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231904" y="980728"/>
            <a:ext cx="2448272" cy="50405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cs-CZ" dirty="0"/>
          </a:p>
        </p:txBody>
      </p:sp>
      <p:sp>
        <p:nvSpPr>
          <p:cNvPr id="11" name="Zástupný symbol obrázku 5">
            <a:extLst>
              <a:ext uri="{FF2B5EF4-FFF2-40B4-BE49-F238E27FC236}">
                <a16:creationId xmlns:a16="http://schemas.microsoft.com/office/drawing/2014/main" id="{1F8AB5F7-2014-3DE5-A3E7-7270C5725B7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836423" y="980728"/>
            <a:ext cx="2448272" cy="50405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cs-CZ" dirty="0"/>
          </a:p>
        </p:txBody>
      </p: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945F3B21-C1EB-48B8-50D4-6A1748F784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7774" y="62068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en-US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  <p:sp>
        <p:nvSpPr>
          <p:cNvPr id="8" name="Text Placeholder 21">
            <a:extLst>
              <a:ext uri="{FF2B5EF4-FFF2-40B4-BE49-F238E27FC236}">
                <a16:creationId xmlns:a16="http://schemas.microsoft.com/office/drawing/2014/main" id="{678171B0-6EE8-F925-C2D7-E083CA87A0E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31904" y="620688"/>
            <a:ext cx="244827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en-US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1233071-C0AF-A6FF-94AC-46A2C47190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36423" y="620688"/>
            <a:ext cx="244827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en-US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025A8E0E-07B3-81B9-AE5F-9B5C442507F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95400" y="3356992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en-US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926217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_obrázky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43472" y="980728"/>
            <a:ext cx="4360576" cy="2304256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cs-CZ" dirty="0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9" name="Zástupný symbol obrázku 5">
            <a:extLst>
              <a:ext uri="{FF2B5EF4-FFF2-40B4-BE49-F238E27FC236}">
                <a16:creationId xmlns:a16="http://schemas.microsoft.com/office/drawing/2014/main" id="{436FB165-3355-0608-17AA-55271C8520A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343472" y="3861048"/>
            <a:ext cx="4360576" cy="237626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cs-CZ" dirty="0"/>
          </a:p>
        </p:txBody>
      </p:sp>
      <p:sp>
        <p:nvSpPr>
          <p:cNvPr id="7" name="Zástupný symbol obrázku 5">
            <a:extLst>
              <a:ext uri="{FF2B5EF4-FFF2-40B4-BE49-F238E27FC236}">
                <a16:creationId xmlns:a16="http://schemas.microsoft.com/office/drawing/2014/main" id="{8F5D8973-3623-56C4-F175-AA531064B70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839880" y="980728"/>
            <a:ext cx="4360576" cy="2304256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cs-CZ" dirty="0"/>
          </a:p>
        </p:txBody>
      </p:sp>
      <p:sp>
        <p:nvSpPr>
          <p:cNvPr id="8" name="Zástupný symbol obrázku 5">
            <a:extLst>
              <a:ext uri="{FF2B5EF4-FFF2-40B4-BE49-F238E27FC236}">
                <a16:creationId xmlns:a16="http://schemas.microsoft.com/office/drawing/2014/main" id="{B69B087A-BDA0-4CA2-449A-220C8A0CFC5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839880" y="3861048"/>
            <a:ext cx="4360576" cy="237626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cs-CZ" dirty="0"/>
          </a:p>
        </p:txBody>
      </p:sp>
      <p:sp>
        <p:nvSpPr>
          <p:cNvPr id="10" name="Text Placeholder 21">
            <a:extLst>
              <a:ext uri="{FF2B5EF4-FFF2-40B4-BE49-F238E27FC236}">
                <a16:creationId xmlns:a16="http://schemas.microsoft.com/office/drawing/2014/main" id="{2BFD1512-966D-221D-D013-1D5926C29E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343472" y="62068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en-US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8DA5E481-C11E-8F62-C173-EB5E740CA92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839880" y="62068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en-US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DFB8C3E3-2FE9-B311-B7CF-01BBFF854D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346201" y="350100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en-US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F4DAA9EE-3EDA-EC4D-177C-25C6F8166D0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842609" y="350100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en-US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7154928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_obrázky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43472" y="980728"/>
            <a:ext cx="4360576" cy="2304256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cs-CZ" dirty="0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7" name="Zástupný symbol obrázku 5">
            <a:extLst>
              <a:ext uri="{FF2B5EF4-FFF2-40B4-BE49-F238E27FC236}">
                <a16:creationId xmlns:a16="http://schemas.microsoft.com/office/drawing/2014/main" id="{8F5D8973-3623-56C4-F175-AA531064B70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839880" y="980728"/>
            <a:ext cx="4360576" cy="2304256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cs-CZ" dirty="0"/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5DEC724E-C033-F047-E07F-A09C002E2A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346884" y="3789040"/>
            <a:ext cx="8853572" cy="244827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cs-CZ" dirty="0"/>
          </a:p>
        </p:txBody>
      </p:sp>
      <p:sp>
        <p:nvSpPr>
          <p:cNvPr id="8" name="Text Placeholder 21">
            <a:extLst>
              <a:ext uri="{FF2B5EF4-FFF2-40B4-BE49-F238E27FC236}">
                <a16:creationId xmlns:a16="http://schemas.microsoft.com/office/drawing/2014/main" id="{F1F6C668-6FE5-FD98-0570-A9E9B52A58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343472" y="62068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en-US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  <p:sp>
        <p:nvSpPr>
          <p:cNvPr id="9" name="Text Placeholder 21">
            <a:extLst>
              <a:ext uri="{FF2B5EF4-FFF2-40B4-BE49-F238E27FC236}">
                <a16:creationId xmlns:a16="http://schemas.microsoft.com/office/drawing/2014/main" id="{5FAE5FDF-3F80-54F4-CE26-DBE350647B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839880" y="62068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en-US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8B83B143-D77D-61B6-FBCF-F08314D2B28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343472" y="3429000"/>
            <a:ext cx="885357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en-US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71260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ři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73FFA9-F99A-BB4D-AC2C-595EB81D9B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1916113"/>
            <a:ext cx="3456906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6"/>
          <a:stretch/>
        </p:blipFill>
        <p:spPr>
          <a:xfrm>
            <a:off x="10920536" y="476672"/>
            <a:ext cx="639074" cy="641351"/>
          </a:xfrm>
          <a:prstGeom prst="rect">
            <a:avLst/>
          </a:prstGeom>
        </p:spPr>
      </p:pic>
      <p:sp>
        <p:nvSpPr>
          <p:cNvPr id="13" name="Text Placeholder 19">
            <a:extLst>
              <a:ext uri="{FF2B5EF4-FFF2-40B4-BE49-F238E27FC236}">
                <a16:creationId xmlns:a16="http://schemas.microsoft.com/office/drawing/2014/main" id="{0AE1F90D-7037-11D7-076F-425EF0C965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6782" y="1916113"/>
            <a:ext cx="3456906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16" name="Text Placeholder 19">
            <a:extLst>
              <a:ext uri="{FF2B5EF4-FFF2-40B4-BE49-F238E27FC236}">
                <a16:creationId xmlns:a16="http://schemas.microsoft.com/office/drawing/2014/main" id="{E4190888-F957-A546-F6D6-C49AB95D143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02704" y="1916113"/>
            <a:ext cx="3456906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173E74EB-A934-6963-C407-AB4B32DCF65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50863" y="2852936"/>
            <a:ext cx="3456902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11" name="Zástupný text 2">
            <a:extLst>
              <a:ext uri="{FF2B5EF4-FFF2-40B4-BE49-F238E27FC236}">
                <a16:creationId xmlns:a16="http://schemas.microsoft.com/office/drawing/2014/main" id="{839157F3-F208-29FD-6B5C-06C1ECE6091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26782" y="2852936"/>
            <a:ext cx="3456902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17" name="Zástupný text 2">
            <a:extLst>
              <a:ext uri="{FF2B5EF4-FFF2-40B4-BE49-F238E27FC236}">
                <a16:creationId xmlns:a16="http://schemas.microsoft.com/office/drawing/2014/main" id="{0B242EDF-5B3C-5356-1CCB-C122EF7B110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02708" y="2852936"/>
            <a:ext cx="3456902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86004193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ránka s fotko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cs-CZ" dirty="0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0F265A4D-3619-6F13-4CB9-947AC0A970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81619" y="332656"/>
            <a:ext cx="4022893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Zástupný text 2">
            <a:extLst>
              <a:ext uri="{FF2B5EF4-FFF2-40B4-BE49-F238E27FC236}">
                <a16:creationId xmlns:a16="http://schemas.microsoft.com/office/drawing/2014/main" id="{F4C121A6-3D8E-FD24-AE30-7D21C7FCA8B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50898" y="1918502"/>
            <a:ext cx="490871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49759661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3380046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cs-CZ" dirty="0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0F265A4D-3619-6F13-4CB9-947AC0A970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81619" y="332656"/>
            <a:ext cx="4022893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Zástupný symbol obrázku 5">
            <a:extLst>
              <a:ext uri="{FF2B5EF4-FFF2-40B4-BE49-F238E27FC236}">
                <a16:creationId xmlns:a16="http://schemas.microsoft.com/office/drawing/2014/main" id="{C6D106E1-2BA3-6D0D-BE93-FAD81BEA0BC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3477954"/>
            <a:ext cx="6096000" cy="3380046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cs-CZ" dirty="0"/>
          </a:p>
        </p:txBody>
      </p:sp>
      <p:sp>
        <p:nvSpPr>
          <p:cNvPr id="8" name="Zástupný text 2">
            <a:extLst>
              <a:ext uri="{FF2B5EF4-FFF2-40B4-BE49-F238E27FC236}">
                <a16:creationId xmlns:a16="http://schemas.microsoft.com/office/drawing/2014/main" id="{96D3A5E4-D310-DB89-29F2-CCD1C5DFFA4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50898" y="1918502"/>
            <a:ext cx="490871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84615616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ránka s fotko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cs-CZ" dirty="0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5E8F0922-9B60-F37C-EBF9-66BDEC3461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0939" y="332656"/>
            <a:ext cx="5031005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908DA53C-6579-3BD0-5B5E-839900171CC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8682" y="1930049"/>
            <a:ext cx="502326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12778834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2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5E8F0922-9B60-F37C-EBF9-66BDEC3461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0939" y="332656"/>
            <a:ext cx="5031005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Zástupný symbol obrázku 5">
            <a:extLst>
              <a:ext uri="{FF2B5EF4-FFF2-40B4-BE49-F238E27FC236}">
                <a16:creationId xmlns:a16="http://schemas.microsoft.com/office/drawing/2014/main" id="{0D4A35CD-ECE1-9CD2-59DC-446B9844E7A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3380046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cs-CZ" dirty="0"/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3FBEC363-76F6-C438-912D-EF2FD2CD956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3477954"/>
            <a:ext cx="6096000" cy="3380046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cs-CZ" dirty="0"/>
          </a:p>
        </p:txBody>
      </p:sp>
      <p:sp>
        <p:nvSpPr>
          <p:cNvPr id="11" name="Zástupný text 2">
            <a:extLst>
              <a:ext uri="{FF2B5EF4-FFF2-40B4-BE49-F238E27FC236}">
                <a16:creationId xmlns:a16="http://schemas.microsoft.com/office/drawing/2014/main" id="{FEFA80A1-4C72-C7F2-49F5-D691657C986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8682" y="1930049"/>
            <a:ext cx="502326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90790746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3429000"/>
            <a:ext cx="6096000" cy="3429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cs-CZ" dirty="0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0F265A4D-3619-6F13-4CB9-947AC0A970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0939" y="332656"/>
            <a:ext cx="5031005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481D8A43-26C0-4F19-195B-DC10811183C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3024336" cy="335699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cs-CZ" dirty="0"/>
          </a:p>
        </p:txBody>
      </p:sp>
      <p:sp>
        <p:nvSpPr>
          <p:cNvPr id="12" name="Zástupný symbol obrázku 5">
            <a:extLst>
              <a:ext uri="{FF2B5EF4-FFF2-40B4-BE49-F238E27FC236}">
                <a16:creationId xmlns:a16="http://schemas.microsoft.com/office/drawing/2014/main" id="{718C012B-B3C7-8DDD-F0C5-9DE6C7C2CCB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192344" y="0"/>
            <a:ext cx="2975992" cy="335699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cs-CZ" dirty="0"/>
          </a:p>
        </p:txBody>
      </p:sp>
      <p:sp>
        <p:nvSpPr>
          <p:cNvPr id="8" name="Zástupný text 2">
            <a:extLst>
              <a:ext uri="{FF2B5EF4-FFF2-40B4-BE49-F238E27FC236}">
                <a16:creationId xmlns:a16="http://schemas.microsoft.com/office/drawing/2014/main" id="{6829CAE9-7D98-E2FD-C921-54BA8CADC7D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8682" y="1930049"/>
            <a:ext cx="502326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81172737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429000"/>
            <a:ext cx="6096000" cy="3429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cs-CZ" dirty="0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481D8A43-26C0-4F19-195B-DC10811183C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024336" cy="335699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cs-CZ" dirty="0"/>
          </a:p>
        </p:txBody>
      </p:sp>
      <p:sp>
        <p:nvSpPr>
          <p:cNvPr id="12" name="Zástupný symbol obrázku 5">
            <a:extLst>
              <a:ext uri="{FF2B5EF4-FFF2-40B4-BE49-F238E27FC236}">
                <a16:creationId xmlns:a16="http://schemas.microsoft.com/office/drawing/2014/main" id="{718C012B-B3C7-8DDD-F0C5-9DE6C7C2CCB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96344" y="0"/>
            <a:ext cx="2975992" cy="335699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cs-CZ" dirty="0"/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A2696F3F-7A65-64A8-94F3-227A61117C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81619" y="332656"/>
            <a:ext cx="4022893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Zástupný text 2">
            <a:extLst>
              <a:ext uri="{FF2B5EF4-FFF2-40B4-BE49-F238E27FC236}">
                <a16:creationId xmlns:a16="http://schemas.microsoft.com/office/drawing/2014/main" id="{0B79C196-4283-06EE-E6EC-CDCF933B830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50898" y="1918502"/>
            <a:ext cx="490871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84216518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429000"/>
            <a:ext cx="3024336" cy="3429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cs-CZ" dirty="0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481D8A43-26C0-4F19-195B-DC10811183C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024336" cy="335699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cs-CZ" dirty="0"/>
          </a:p>
        </p:txBody>
      </p:sp>
      <p:sp>
        <p:nvSpPr>
          <p:cNvPr id="12" name="Zástupný symbol obrázku 5">
            <a:extLst>
              <a:ext uri="{FF2B5EF4-FFF2-40B4-BE49-F238E27FC236}">
                <a16:creationId xmlns:a16="http://schemas.microsoft.com/office/drawing/2014/main" id="{718C012B-B3C7-8DDD-F0C5-9DE6C7C2CCB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96344" y="0"/>
            <a:ext cx="2975992" cy="335699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cs-CZ" dirty="0"/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A2696F3F-7A65-64A8-94F3-227A61117C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81619" y="332656"/>
            <a:ext cx="4022893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Zástupný symbol obrázku 5">
            <a:extLst>
              <a:ext uri="{FF2B5EF4-FFF2-40B4-BE49-F238E27FC236}">
                <a16:creationId xmlns:a16="http://schemas.microsoft.com/office/drawing/2014/main" id="{953DEFEB-09ED-9E58-EF97-921059EC70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96344" y="3429000"/>
            <a:ext cx="2975992" cy="3429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cs-CZ" dirty="0"/>
          </a:p>
        </p:txBody>
      </p:sp>
      <p:sp>
        <p:nvSpPr>
          <p:cNvPr id="11" name="Zástupný text 2">
            <a:extLst>
              <a:ext uri="{FF2B5EF4-FFF2-40B4-BE49-F238E27FC236}">
                <a16:creationId xmlns:a16="http://schemas.microsoft.com/office/drawing/2014/main" id="{AF65E1E2-DCA5-AF05-B2E5-B9A612376F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50898" y="1918502"/>
            <a:ext cx="490871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93006508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03937" y="3429000"/>
            <a:ext cx="3024336" cy="3429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cs-CZ" dirty="0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481D8A43-26C0-4F19-195B-DC10811183C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03937" y="0"/>
            <a:ext cx="3024336" cy="335699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cs-CZ" dirty="0"/>
          </a:p>
        </p:txBody>
      </p:sp>
      <p:sp>
        <p:nvSpPr>
          <p:cNvPr id="12" name="Zástupný symbol obrázku 5">
            <a:extLst>
              <a:ext uri="{FF2B5EF4-FFF2-40B4-BE49-F238E27FC236}">
                <a16:creationId xmlns:a16="http://schemas.microsoft.com/office/drawing/2014/main" id="{718C012B-B3C7-8DDD-F0C5-9DE6C7C2CCB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200281" y="0"/>
            <a:ext cx="2975992" cy="335699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cs-CZ" dirty="0"/>
          </a:p>
        </p:txBody>
      </p:sp>
      <p:sp>
        <p:nvSpPr>
          <p:cNvPr id="13" name="Zástupný symbol obrázku 5">
            <a:extLst>
              <a:ext uri="{FF2B5EF4-FFF2-40B4-BE49-F238E27FC236}">
                <a16:creationId xmlns:a16="http://schemas.microsoft.com/office/drawing/2014/main" id="{953DEFEB-09ED-9E58-EF97-921059EC70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200281" y="3429000"/>
            <a:ext cx="2975992" cy="3429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cs-CZ" dirty="0"/>
          </a:p>
        </p:txBody>
      </p:sp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66DB134B-C8C4-ED9D-ECAA-BA0D3BE24F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0939" y="332656"/>
            <a:ext cx="5031005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Zástupný text 2">
            <a:extLst>
              <a:ext uri="{FF2B5EF4-FFF2-40B4-BE49-F238E27FC236}">
                <a16:creationId xmlns:a16="http://schemas.microsoft.com/office/drawing/2014/main" id="{91B7FDB3-283F-B7ED-C4C8-6DE20D6262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8682" y="1930049"/>
            <a:ext cx="502326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85534080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212976"/>
            <a:ext cx="12192000" cy="364502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cs-CZ" dirty="0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E229C5F1-F978-7A97-F2F2-C2C8DEC8D0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B26B058F-4C24-C318-1E84-0729C2B541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7688" y="1738855"/>
            <a:ext cx="11009312" cy="1088821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27171323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212976"/>
            <a:ext cx="6048672" cy="364502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cs-CZ" dirty="0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E229C5F1-F978-7A97-F2F2-C2C8DEC8D0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78DA8F50-FA33-1D19-B6C1-34ECF45C5D5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43330" y="3212976"/>
            <a:ext cx="6048672" cy="364502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cs-CZ" dirty="0"/>
          </a:p>
        </p:txBody>
      </p:sp>
      <p:sp>
        <p:nvSpPr>
          <p:cNvPr id="8" name="Zástupný text 2">
            <a:extLst>
              <a:ext uri="{FF2B5EF4-FFF2-40B4-BE49-F238E27FC236}">
                <a16:creationId xmlns:a16="http://schemas.microsoft.com/office/drawing/2014/main" id="{C85BB8FE-0315-B0D3-D079-149C3C492EC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7688" y="1738855"/>
            <a:ext cx="11009312" cy="1088821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2543033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73FFA9-F99A-BB4D-AC2C-595EB81D9B7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0862" y="1916113"/>
            <a:ext cx="5041083" cy="8648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6"/>
          <a:stretch/>
        </p:blipFill>
        <p:spPr>
          <a:xfrm>
            <a:off x="10920536" y="476672"/>
            <a:ext cx="639074" cy="641351"/>
          </a:xfrm>
          <a:prstGeom prst="rect">
            <a:avLst/>
          </a:prstGeom>
        </p:spPr>
      </p:pic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93116F34-349C-1FDE-6668-5945EEE32EF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18527" y="1930447"/>
            <a:ext cx="5041083" cy="8648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53" name="Rovnoramenný trojúhelník 51">
            <a:extLst>
              <a:ext uri="{FF2B5EF4-FFF2-40B4-BE49-F238E27FC236}">
                <a16:creationId xmlns:a16="http://schemas.microsoft.com/office/drawing/2014/main" id="{27BC23DB-6645-12C3-D39D-15D9667188D9}"/>
              </a:ext>
            </a:extLst>
          </p:cNvPr>
          <p:cNvSpPr/>
          <p:nvPr userDrawn="1"/>
        </p:nvSpPr>
        <p:spPr>
          <a:xfrm rot="5400000">
            <a:off x="5871690" y="3365278"/>
            <a:ext cx="374705" cy="214117"/>
          </a:xfrm>
          <a:custGeom>
            <a:avLst/>
            <a:gdLst>
              <a:gd name="connsiteX0" fmla="*/ 0 w 1060704"/>
              <a:gd name="connsiteY0" fmla="*/ 914400 h 914400"/>
              <a:gd name="connsiteX1" fmla="*/ 530352 w 1060704"/>
              <a:gd name="connsiteY1" fmla="*/ 0 h 914400"/>
              <a:gd name="connsiteX2" fmla="*/ 1060704 w 1060704"/>
              <a:gd name="connsiteY2" fmla="*/ 914400 h 914400"/>
              <a:gd name="connsiteX3" fmla="*/ 0 w 1060704"/>
              <a:gd name="connsiteY3" fmla="*/ 914400 h 914400"/>
              <a:gd name="connsiteX0" fmla="*/ 0 w 1060704"/>
              <a:gd name="connsiteY0" fmla="*/ 914400 h 921103"/>
              <a:gd name="connsiteX1" fmla="*/ 530352 w 1060704"/>
              <a:gd name="connsiteY1" fmla="*/ 0 h 921103"/>
              <a:gd name="connsiteX2" fmla="*/ 1060704 w 1060704"/>
              <a:gd name="connsiteY2" fmla="*/ 914400 h 921103"/>
              <a:gd name="connsiteX3" fmla="*/ 516811 w 1060704"/>
              <a:gd name="connsiteY3" fmla="*/ 921103 h 921103"/>
              <a:gd name="connsiteX4" fmla="*/ 0 w 1060704"/>
              <a:gd name="connsiteY4" fmla="*/ 914400 h 921103"/>
              <a:gd name="connsiteX0" fmla="*/ 0 w 1060704"/>
              <a:gd name="connsiteY0" fmla="*/ 914400 h 914400"/>
              <a:gd name="connsiteX1" fmla="*/ 530352 w 1060704"/>
              <a:gd name="connsiteY1" fmla="*/ 0 h 914400"/>
              <a:gd name="connsiteX2" fmla="*/ 1060704 w 1060704"/>
              <a:gd name="connsiteY2" fmla="*/ 914400 h 914400"/>
              <a:gd name="connsiteX3" fmla="*/ 0 w 1060704"/>
              <a:gd name="connsiteY3" fmla="*/ 914400 h 914400"/>
              <a:gd name="connsiteX0" fmla="*/ 0 w 1060704"/>
              <a:gd name="connsiteY0" fmla="*/ 914400 h 914410"/>
              <a:gd name="connsiteX1" fmla="*/ 530352 w 1060704"/>
              <a:gd name="connsiteY1" fmla="*/ 0 h 914410"/>
              <a:gd name="connsiteX2" fmla="*/ 1060704 w 1060704"/>
              <a:gd name="connsiteY2" fmla="*/ 914400 h 914410"/>
              <a:gd name="connsiteX3" fmla="*/ 512318 w 1060704"/>
              <a:gd name="connsiteY3" fmla="*/ 789316 h 914410"/>
              <a:gd name="connsiteX4" fmla="*/ 0 w 1060704"/>
              <a:gd name="connsiteY4" fmla="*/ 914400 h 914410"/>
              <a:gd name="connsiteX0" fmla="*/ 0 w 1060704"/>
              <a:gd name="connsiteY0" fmla="*/ 914400 h 914410"/>
              <a:gd name="connsiteX1" fmla="*/ 530352 w 1060704"/>
              <a:gd name="connsiteY1" fmla="*/ 0 h 914410"/>
              <a:gd name="connsiteX2" fmla="*/ 1060704 w 1060704"/>
              <a:gd name="connsiteY2" fmla="*/ 914400 h 914410"/>
              <a:gd name="connsiteX3" fmla="*/ 512318 w 1060704"/>
              <a:gd name="connsiteY3" fmla="*/ 789316 h 914410"/>
              <a:gd name="connsiteX4" fmla="*/ 0 w 1060704"/>
              <a:gd name="connsiteY4" fmla="*/ 914400 h 914410"/>
              <a:gd name="connsiteX0" fmla="*/ 0 w 1060704"/>
              <a:gd name="connsiteY0" fmla="*/ 914400 h 914408"/>
              <a:gd name="connsiteX1" fmla="*/ 530352 w 1060704"/>
              <a:gd name="connsiteY1" fmla="*/ 0 h 914408"/>
              <a:gd name="connsiteX2" fmla="*/ 1060704 w 1060704"/>
              <a:gd name="connsiteY2" fmla="*/ 914400 h 914408"/>
              <a:gd name="connsiteX3" fmla="*/ 512318 w 1060704"/>
              <a:gd name="connsiteY3" fmla="*/ 789316 h 914408"/>
              <a:gd name="connsiteX4" fmla="*/ 0 w 1060704"/>
              <a:gd name="connsiteY4" fmla="*/ 914400 h 914408"/>
              <a:gd name="connsiteX0" fmla="*/ 0 w 1060704"/>
              <a:gd name="connsiteY0" fmla="*/ 914400 h 914403"/>
              <a:gd name="connsiteX1" fmla="*/ 530352 w 1060704"/>
              <a:gd name="connsiteY1" fmla="*/ 0 h 914403"/>
              <a:gd name="connsiteX2" fmla="*/ 1060704 w 1060704"/>
              <a:gd name="connsiteY2" fmla="*/ 914400 h 914403"/>
              <a:gd name="connsiteX3" fmla="*/ 519907 w 1060704"/>
              <a:gd name="connsiteY3" fmla="*/ 519858 h 914403"/>
              <a:gd name="connsiteX4" fmla="*/ 0 w 1060704"/>
              <a:gd name="connsiteY4" fmla="*/ 914400 h 914403"/>
              <a:gd name="connsiteX0" fmla="*/ 0 w 1060704"/>
              <a:gd name="connsiteY0" fmla="*/ 914400 h 914401"/>
              <a:gd name="connsiteX1" fmla="*/ 530352 w 1060704"/>
              <a:gd name="connsiteY1" fmla="*/ 0 h 914401"/>
              <a:gd name="connsiteX2" fmla="*/ 1060704 w 1060704"/>
              <a:gd name="connsiteY2" fmla="*/ 914400 h 914401"/>
              <a:gd name="connsiteX3" fmla="*/ 531297 w 1060704"/>
              <a:gd name="connsiteY3" fmla="*/ 3710 h 914401"/>
              <a:gd name="connsiteX4" fmla="*/ 0 w 1060704"/>
              <a:gd name="connsiteY4" fmla="*/ 914400 h 914401"/>
              <a:gd name="connsiteX0" fmla="*/ 0 w 1060704"/>
              <a:gd name="connsiteY0" fmla="*/ 914400 h 914399"/>
              <a:gd name="connsiteX1" fmla="*/ 530352 w 1060704"/>
              <a:gd name="connsiteY1" fmla="*/ 0 h 914399"/>
              <a:gd name="connsiteX2" fmla="*/ 1060704 w 1060704"/>
              <a:gd name="connsiteY2" fmla="*/ 914400 h 914399"/>
              <a:gd name="connsiteX3" fmla="*/ 531297 w 1060704"/>
              <a:gd name="connsiteY3" fmla="*/ 3710 h 914399"/>
              <a:gd name="connsiteX4" fmla="*/ 0 w 1060704"/>
              <a:gd name="connsiteY4" fmla="*/ 914400 h 914399"/>
              <a:gd name="connsiteX0" fmla="*/ 0 w 1060704"/>
              <a:gd name="connsiteY0" fmla="*/ 914400 h 914401"/>
              <a:gd name="connsiteX1" fmla="*/ 530352 w 1060704"/>
              <a:gd name="connsiteY1" fmla="*/ 0 h 914401"/>
              <a:gd name="connsiteX2" fmla="*/ 1060704 w 1060704"/>
              <a:gd name="connsiteY2" fmla="*/ 914400 h 914401"/>
              <a:gd name="connsiteX3" fmla="*/ 531297 w 1060704"/>
              <a:gd name="connsiteY3" fmla="*/ 3710 h 914401"/>
              <a:gd name="connsiteX4" fmla="*/ 0 w 1060704"/>
              <a:gd name="connsiteY4" fmla="*/ 914400 h 9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0704" h="914401">
                <a:moveTo>
                  <a:pt x="0" y="914400"/>
                </a:moveTo>
                <a:lnTo>
                  <a:pt x="530352" y="0"/>
                </a:lnTo>
                <a:lnTo>
                  <a:pt x="1060704" y="914400"/>
                </a:lnTo>
                <a:cubicBezTo>
                  <a:pt x="1043633" y="904331"/>
                  <a:pt x="533192" y="-1403"/>
                  <a:pt x="531297" y="3710"/>
                </a:cubicBezTo>
                <a:cubicBezTo>
                  <a:pt x="531312" y="-139"/>
                  <a:pt x="18968" y="884091"/>
                  <a:pt x="0" y="914400"/>
                </a:cubicBezTo>
                <a:close/>
              </a:path>
            </a:pathLst>
          </a:custGeom>
          <a:noFill/>
          <a:ln w="34925">
            <a:solidFill>
              <a:schemeClr val="accent1"/>
            </a:solidFill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cs-CZ"/>
          </a:p>
        </p:txBody>
      </p:sp>
      <p:sp>
        <p:nvSpPr>
          <p:cNvPr id="9" name="Zástupný text 2">
            <a:extLst>
              <a:ext uri="{FF2B5EF4-FFF2-40B4-BE49-F238E27FC236}">
                <a16:creationId xmlns:a16="http://schemas.microsoft.com/office/drawing/2014/main" id="{7BACBAD4-6DA3-FC34-9EBE-50400CF3C80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50862" y="2852936"/>
            <a:ext cx="5041081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67CAEF5D-8A72-3ED8-0DF0-628C1A02348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518527" y="2862278"/>
            <a:ext cx="5041081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8532761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212976"/>
            <a:ext cx="3985120" cy="364502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cs-CZ" dirty="0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E229C5F1-F978-7A97-F2F2-C2C8DEC8D0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Zástupný symbol obrázku 5">
            <a:extLst>
              <a:ext uri="{FF2B5EF4-FFF2-40B4-BE49-F238E27FC236}">
                <a16:creationId xmlns:a16="http://schemas.microsoft.com/office/drawing/2014/main" id="{CDCCAF09-131E-3E4C-BE38-ACEF58EAB7D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103440" y="3212976"/>
            <a:ext cx="3985120" cy="364502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cs-CZ" dirty="0"/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5F3DE0BA-D7D0-8A00-E37E-03B82DC518E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206880" y="3202672"/>
            <a:ext cx="3985120" cy="364502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cs-CZ" dirty="0"/>
          </a:p>
        </p:txBody>
      </p:sp>
      <p:sp>
        <p:nvSpPr>
          <p:cNvPr id="11" name="Zástupný text 2">
            <a:extLst>
              <a:ext uri="{FF2B5EF4-FFF2-40B4-BE49-F238E27FC236}">
                <a16:creationId xmlns:a16="http://schemas.microsoft.com/office/drawing/2014/main" id="{2637118B-9C7E-173F-E637-DEAF4CAAC30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7688" y="1738855"/>
            <a:ext cx="11009312" cy="1088821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99760734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e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7" descr="Text&#10;&#10;Description automatically generated with low confidence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92" y="489816"/>
            <a:ext cx="1584176" cy="63858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F05EA71-C82B-AA44-A4E8-85F0A5E0E09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6CE203-DE2C-6447-AC60-175A88E4C8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1235" y="2204864"/>
            <a:ext cx="6192837" cy="1439862"/>
          </a:xfrm>
          <a:prstGeom prst="rect">
            <a:avLst/>
          </a:prstGeom>
        </p:spPr>
        <p:txBody>
          <a:bodyPr/>
          <a:lstStyle>
            <a:lvl1pPr>
              <a:defRPr sz="42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2pPr>
            <a:lvl3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3pPr>
            <a:lvl4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4pPr>
            <a:lvl5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1AE5D401-F9B2-6641-97CF-0037D0D92A4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1384" y="4005064"/>
            <a:ext cx="3960812" cy="790575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A69235CD-E9C9-BD08-6F7F-570AE6AA2FA5}"/>
              </a:ext>
            </a:extLst>
          </p:cNvPr>
          <p:cNvSpPr/>
          <p:nvPr userDrawn="1"/>
        </p:nvSpPr>
        <p:spPr>
          <a:xfrm>
            <a:off x="11136560" y="6237312"/>
            <a:ext cx="576064" cy="504056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283581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73FFA9-F99A-BB4D-AC2C-595EB81D9B7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0862" y="1916113"/>
            <a:ext cx="10922001" cy="64633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596"/>
          <a:stretch/>
        </p:blipFill>
        <p:spPr>
          <a:xfrm>
            <a:off x="10920536" y="476672"/>
            <a:ext cx="639074" cy="641351"/>
          </a:xfrm>
          <a:prstGeom prst="rect">
            <a:avLst/>
          </a:prstGeom>
        </p:spPr>
      </p:pic>
      <p:sp>
        <p:nvSpPr>
          <p:cNvPr id="3" name="Zástupný text 2">
            <a:extLst>
              <a:ext uri="{FF2B5EF4-FFF2-40B4-BE49-F238E27FC236}">
                <a16:creationId xmlns:a16="http://schemas.microsoft.com/office/drawing/2014/main" id="{BB7D9004-A755-001A-6CC9-458F8341E16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0863" y="2852936"/>
            <a:ext cx="11009312" cy="1656878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2854550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57120"/>
            <a:ext cx="10298111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596"/>
          <a:stretch/>
        </p:blipFill>
        <p:spPr>
          <a:xfrm>
            <a:off x="10920536" y="476672"/>
            <a:ext cx="639074" cy="641351"/>
          </a:xfrm>
          <a:prstGeom prst="rect">
            <a:avLst/>
          </a:prstGeom>
        </p:spPr>
      </p:pic>
      <p:sp>
        <p:nvSpPr>
          <p:cNvPr id="6" name="Text Placeholder 19">
            <a:extLst>
              <a:ext uri="{FF2B5EF4-FFF2-40B4-BE49-F238E27FC236}">
                <a16:creationId xmlns:a16="http://schemas.microsoft.com/office/drawing/2014/main" id="{AD1ED3B7-42DB-F308-0499-1C88F389A4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0862" y="1916113"/>
            <a:ext cx="10922001" cy="64633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  <p:sp>
        <p:nvSpPr>
          <p:cNvPr id="7" name="Zástupný text 2">
            <a:extLst>
              <a:ext uri="{FF2B5EF4-FFF2-40B4-BE49-F238E27FC236}">
                <a16:creationId xmlns:a16="http://schemas.microsoft.com/office/drawing/2014/main" id="{59088635-C4A2-5DE7-C005-B34DB130725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0863" y="2852936"/>
            <a:ext cx="11009312" cy="1656878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0838339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CEC2F6E-BB8D-4A07-B873-A379FEAE4F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61375A-C223-44C8-917C-F7C3A1BCD50F}" type="datetimeFigureOut">
              <a:rPr lang="en-GB" smtClean="0"/>
              <a:t>08/04/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C64672-2E28-45BB-AB1E-9CA10E9088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3CCF35-5028-4E4D-8F6E-2E2DF0FB42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83841B-0DB4-4C99-B5E5-79625F01DBF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864530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>
            <a:extLst>
              <a:ext uri="{FF2B5EF4-FFF2-40B4-BE49-F238E27FC236}">
                <a16:creationId xmlns:a16="http://schemas.microsoft.com/office/drawing/2014/main" id="{E2E87EAA-51F0-067F-FAA6-5E9927829B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896" y="0"/>
            <a:ext cx="7032104" cy="6858000"/>
          </a:xfrm>
          <a:prstGeom prst="rect">
            <a:avLst/>
          </a:prstGeom>
        </p:spPr>
      </p:pic>
      <p:pic>
        <p:nvPicPr>
          <p:cNvPr id="10" name="Picture 7" descr="Text&#10;&#10;Description automatically generated with low confidence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92" y="489816"/>
            <a:ext cx="1584176" cy="638583"/>
          </a:xfrm>
          <a:prstGeom prst="rect">
            <a:avLst/>
          </a:prstGeom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E2C9BB94-3B38-D149-AA59-8FBB1C2F637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1384" y="2204864"/>
            <a:ext cx="6192837" cy="1439862"/>
          </a:xfrm>
          <a:prstGeom prst="rect">
            <a:avLst/>
          </a:prstGeom>
        </p:spPr>
        <p:txBody>
          <a:bodyPr/>
          <a:lstStyle>
            <a:lvl1pPr>
              <a:defRPr sz="42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2pPr>
            <a:lvl3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3pPr>
            <a:lvl4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4pPr>
            <a:lvl5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5E38A212-C36F-7144-9D37-90118F79618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1384" y="3933056"/>
            <a:ext cx="3960812" cy="790575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412E00C7-8B18-2C9D-7073-7808A5FBEA53}"/>
              </a:ext>
            </a:extLst>
          </p:cNvPr>
          <p:cNvSpPr/>
          <p:nvPr userDrawn="1"/>
        </p:nvSpPr>
        <p:spPr>
          <a:xfrm>
            <a:off x="11208568" y="6237312"/>
            <a:ext cx="576064" cy="504056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CZ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1361477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57120"/>
            <a:ext cx="10298111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596"/>
          <a:stretch/>
        </p:blipFill>
        <p:spPr>
          <a:xfrm>
            <a:off x="10920536" y="476672"/>
            <a:ext cx="639074" cy="641351"/>
          </a:xfrm>
          <a:prstGeom prst="rect">
            <a:avLst/>
          </a:prstGeom>
        </p:spPr>
      </p:pic>
      <p:sp>
        <p:nvSpPr>
          <p:cNvPr id="6" name="Text Placeholder 19">
            <a:extLst>
              <a:ext uri="{FF2B5EF4-FFF2-40B4-BE49-F238E27FC236}">
                <a16:creationId xmlns:a16="http://schemas.microsoft.com/office/drawing/2014/main" id="{AD1ED3B7-42DB-F308-0499-1C88F389A4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0862" y="1916113"/>
            <a:ext cx="10922001" cy="64633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  <p:sp>
        <p:nvSpPr>
          <p:cNvPr id="7" name="Zástupný text 2">
            <a:extLst>
              <a:ext uri="{FF2B5EF4-FFF2-40B4-BE49-F238E27FC236}">
                <a16:creationId xmlns:a16="http://schemas.microsoft.com/office/drawing/2014/main" id="{59088635-C4A2-5DE7-C005-B34DB130725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0863" y="2852936"/>
            <a:ext cx="11009312" cy="1656878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3901503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73FFA9-F99A-BB4D-AC2C-595EB81D9B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2" y="1916113"/>
            <a:ext cx="7633370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596"/>
          <a:stretch/>
        </p:blipFill>
        <p:spPr>
          <a:xfrm>
            <a:off x="10920536" y="476672"/>
            <a:ext cx="639074" cy="641351"/>
          </a:xfrm>
          <a:prstGeom prst="rect">
            <a:avLst/>
          </a:prstGeom>
        </p:spPr>
      </p:pic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93116F34-349C-1FDE-6668-5945EEE32E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18355" y="1930447"/>
            <a:ext cx="3024859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9" name="Zástupný text 2">
            <a:extLst>
              <a:ext uri="{FF2B5EF4-FFF2-40B4-BE49-F238E27FC236}">
                <a16:creationId xmlns:a16="http://schemas.microsoft.com/office/drawing/2014/main" id="{105B5414-D604-2C67-9C40-9F29B7F3CF3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3" y="2852936"/>
            <a:ext cx="7633368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A6C8BD78-AF5D-FB02-6E05-A11CBACFAD2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518354" y="2852936"/>
            <a:ext cx="3024859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8979059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va obsah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73FFA9-F99A-BB4D-AC2C-595EB81D9B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2" y="1916113"/>
            <a:ext cx="5329115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596"/>
          <a:stretch/>
        </p:blipFill>
        <p:spPr>
          <a:xfrm>
            <a:off x="10920536" y="476672"/>
            <a:ext cx="639074" cy="641351"/>
          </a:xfrm>
          <a:prstGeom prst="rect">
            <a:avLst/>
          </a:prstGeom>
        </p:spPr>
      </p:pic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93116F34-349C-1FDE-6668-5945EEE32E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67485" y="1930447"/>
            <a:ext cx="5329115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9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3" y="2852936"/>
            <a:ext cx="5329114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F98EC4A4-0E88-8EBD-0A2A-CA1D4D7A94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67485" y="2854500"/>
            <a:ext cx="5329114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0381486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ři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73FFA9-F99A-BB4D-AC2C-595EB81D9B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1916113"/>
            <a:ext cx="3456906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596"/>
          <a:stretch/>
        </p:blipFill>
        <p:spPr>
          <a:xfrm>
            <a:off x="10920536" y="476672"/>
            <a:ext cx="639074" cy="641351"/>
          </a:xfrm>
          <a:prstGeom prst="rect">
            <a:avLst/>
          </a:prstGeom>
        </p:spPr>
      </p:pic>
      <p:sp>
        <p:nvSpPr>
          <p:cNvPr id="13" name="Text Placeholder 19">
            <a:extLst>
              <a:ext uri="{FF2B5EF4-FFF2-40B4-BE49-F238E27FC236}">
                <a16:creationId xmlns:a16="http://schemas.microsoft.com/office/drawing/2014/main" id="{0AE1F90D-7037-11D7-076F-425EF0C965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6782" y="1916113"/>
            <a:ext cx="3456906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16" name="Text Placeholder 19">
            <a:extLst>
              <a:ext uri="{FF2B5EF4-FFF2-40B4-BE49-F238E27FC236}">
                <a16:creationId xmlns:a16="http://schemas.microsoft.com/office/drawing/2014/main" id="{E4190888-F957-A546-F6D6-C49AB95D143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02704" y="1916113"/>
            <a:ext cx="3456906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173E74EB-A934-6963-C407-AB4B32DCF65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50863" y="2852936"/>
            <a:ext cx="3456902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11" name="Zástupný text 2">
            <a:extLst>
              <a:ext uri="{FF2B5EF4-FFF2-40B4-BE49-F238E27FC236}">
                <a16:creationId xmlns:a16="http://schemas.microsoft.com/office/drawing/2014/main" id="{839157F3-F208-29FD-6B5C-06C1ECE6091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26782" y="2852936"/>
            <a:ext cx="3456902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17" name="Zástupný text 2">
            <a:extLst>
              <a:ext uri="{FF2B5EF4-FFF2-40B4-BE49-F238E27FC236}">
                <a16:creationId xmlns:a16="http://schemas.microsoft.com/office/drawing/2014/main" id="{0B242EDF-5B3C-5356-1CCB-C122EF7B110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02708" y="2852936"/>
            <a:ext cx="3456902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010395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á strán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DAE7AB3-9B6E-BF47-BB76-1CC7504E66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7" descr="Text&#10;&#10;Description automatically generated with low confidence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92" y="489816"/>
            <a:ext cx="1584176" cy="638583"/>
          </a:xfrm>
          <a:prstGeom prst="rect">
            <a:avLst/>
          </a:prstGeom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E78311E9-823A-C345-B582-8BE42DF1DB8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1384" y="2204864"/>
            <a:ext cx="6192837" cy="1439862"/>
          </a:xfrm>
          <a:prstGeom prst="rect">
            <a:avLst/>
          </a:prstGeom>
        </p:spPr>
        <p:txBody>
          <a:bodyPr/>
          <a:lstStyle>
            <a:lvl1pPr>
              <a:defRPr sz="42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2pPr>
            <a:lvl3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3pPr>
            <a:lvl4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4pPr>
            <a:lvl5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E20F95B7-E9A7-E44D-9B6C-84F2432512B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1384" y="4006577"/>
            <a:ext cx="3960812" cy="790575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01F90324-8788-09F4-3BA0-EC9EB6C21700}"/>
              </a:ext>
            </a:extLst>
          </p:cNvPr>
          <p:cNvSpPr/>
          <p:nvPr userDrawn="1"/>
        </p:nvSpPr>
        <p:spPr>
          <a:xfrm>
            <a:off x="11136560" y="6237312"/>
            <a:ext cx="576064" cy="504056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4227291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73FFA9-F99A-BB4D-AC2C-595EB81D9B7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0862" y="1916113"/>
            <a:ext cx="5041083" cy="8648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596"/>
          <a:stretch/>
        </p:blipFill>
        <p:spPr>
          <a:xfrm>
            <a:off x="10920536" y="476672"/>
            <a:ext cx="639074" cy="641351"/>
          </a:xfrm>
          <a:prstGeom prst="rect">
            <a:avLst/>
          </a:prstGeom>
        </p:spPr>
      </p:pic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93116F34-349C-1FDE-6668-5945EEE32EF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18527" y="1930447"/>
            <a:ext cx="5041083" cy="8648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  <p:sp>
        <p:nvSpPr>
          <p:cNvPr id="53" name="Rovnoramenný trojúhelník 51">
            <a:extLst>
              <a:ext uri="{FF2B5EF4-FFF2-40B4-BE49-F238E27FC236}">
                <a16:creationId xmlns:a16="http://schemas.microsoft.com/office/drawing/2014/main" id="{27BC23DB-6645-12C3-D39D-15D9667188D9}"/>
              </a:ext>
            </a:extLst>
          </p:cNvPr>
          <p:cNvSpPr/>
          <p:nvPr userDrawn="1"/>
        </p:nvSpPr>
        <p:spPr>
          <a:xfrm rot="5400000">
            <a:off x="5871690" y="3365278"/>
            <a:ext cx="374705" cy="214117"/>
          </a:xfrm>
          <a:custGeom>
            <a:avLst/>
            <a:gdLst>
              <a:gd name="connsiteX0" fmla="*/ 0 w 1060704"/>
              <a:gd name="connsiteY0" fmla="*/ 914400 h 914400"/>
              <a:gd name="connsiteX1" fmla="*/ 530352 w 1060704"/>
              <a:gd name="connsiteY1" fmla="*/ 0 h 914400"/>
              <a:gd name="connsiteX2" fmla="*/ 1060704 w 1060704"/>
              <a:gd name="connsiteY2" fmla="*/ 914400 h 914400"/>
              <a:gd name="connsiteX3" fmla="*/ 0 w 1060704"/>
              <a:gd name="connsiteY3" fmla="*/ 914400 h 914400"/>
              <a:gd name="connsiteX0" fmla="*/ 0 w 1060704"/>
              <a:gd name="connsiteY0" fmla="*/ 914400 h 921103"/>
              <a:gd name="connsiteX1" fmla="*/ 530352 w 1060704"/>
              <a:gd name="connsiteY1" fmla="*/ 0 h 921103"/>
              <a:gd name="connsiteX2" fmla="*/ 1060704 w 1060704"/>
              <a:gd name="connsiteY2" fmla="*/ 914400 h 921103"/>
              <a:gd name="connsiteX3" fmla="*/ 516811 w 1060704"/>
              <a:gd name="connsiteY3" fmla="*/ 921103 h 921103"/>
              <a:gd name="connsiteX4" fmla="*/ 0 w 1060704"/>
              <a:gd name="connsiteY4" fmla="*/ 914400 h 921103"/>
              <a:gd name="connsiteX0" fmla="*/ 0 w 1060704"/>
              <a:gd name="connsiteY0" fmla="*/ 914400 h 914400"/>
              <a:gd name="connsiteX1" fmla="*/ 530352 w 1060704"/>
              <a:gd name="connsiteY1" fmla="*/ 0 h 914400"/>
              <a:gd name="connsiteX2" fmla="*/ 1060704 w 1060704"/>
              <a:gd name="connsiteY2" fmla="*/ 914400 h 914400"/>
              <a:gd name="connsiteX3" fmla="*/ 0 w 1060704"/>
              <a:gd name="connsiteY3" fmla="*/ 914400 h 914400"/>
              <a:gd name="connsiteX0" fmla="*/ 0 w 1060704"/>
              <a:gd name="connsiteY0" fmla="*/ 914400 h 914410"/>
              <a:gd name="connsiteX1" fmla="*/ 530352 w 1060704"/>
              <a:gd name="connsiteY1" fmla="*/ 0 h 914410"/>
              <a:gd name="connsiteX2" fmla="*/ 1060704 w 1060704"/>
              <a:gd name="connsiteY2" fmla="*/ 914400 h 914410"/>
              <a:gd name="connsiteX3" fmla="*/ 512318 w 1060704"/>
              <a:gd name="connsiteY3" fmla="*/ 789316 h 914410"/>
              <a:gd name="connsiteX4" fmla="*/ 0 w 1060704"/>
              <a:gd name="connsiteY4" fmla="*/ 914400 h 914410"/>
              <a:gd name="connsiteX0" fmla="*/ 0 w 1060704"/>
              <a:gd name="connsiteY0" fmla="*/ 914400 h 914410"/>
              <a:gd name="connsiteX1" fmla="*/ 530352 w 1060704"/>
              <a:gd name="connsiteY1" fmla="*/ 0 h 914410"/>
              <a:gd name="connsiteX2" fmla="*/ 1060704 w 1060704"/>
              <a:gd name="connsiteY2" fmla="*/ 914400 h 914410"/>
              <a:gd name="connsiteX3" fmla="*/ 512318 w 1060704"/>
              <a:gd name="connsiteY3" fmla="*/ 789316 h 914410"/>
              <a:gd name="connsiteX4" fmla="*/ 0 w 1060704"/>
              <a:gd name="connsiteY4" fmla="*/ 914400 h 914410"/>
              <a:gd name="connsiteX0" fmla="*/ 0 w 1060704"/>
              <a:gd name="connsiteY0" fmla="*/ 914400 h 914408"/>
              <a:gd name="connsiteX1" fmla="*/ 530352 w 1060704"/>
              <a:gd name="connsiteY1" fmla="*/ 0 h 914408"/>
              <a:gd name="connsiteX2" fmla="*/ 1060704 w 1060704"/>
              <a:gd name="connsiteY2" fmla="*/ 914400 h 914408"/>
              <a:gd name="connsiteX3" fmla="*/ 512318 w 1060704"/>
              <a:gd name="connsiteY3" fmla="*/ 789316 h 914408"/>
              <a:gd name="connsiteX4" fmla="*/ 0 w 1060704"/>
              <a:gd name="connsiteY4" fmla="*/ 914400 h 914408"/>
              <a:gd name="connsiteX0" fmla="*/ 0 w 1060704"/>
              <a:gd name="connsiteY0" fmla="*/ 914400 h 914403"/>
              <a:gd name="connsiteX1" fmla="*/ 530352 w 1060704"/>
              <a:gd name="connsiteY1" fmla="*/ 0 h 914403"/>
              <a:gd name="connsiteX2" fmla="*/ 1060704 w 1060704"/>
              <a:gd name="connsiteY2" fmla="*/ 914400 h 914403"/>
              <a:gd name="connsiteX3" fmla="*/ 519907 w 1060704"/>
              <a:gd name="connsiteY3" fmla="*/ 519858 h 914403"/>
              <a:gd name="connsiteX4" fmla="*/ 0 w 1060704"/>
              <a:gd name="connsiteY4" fmla="*/ 914400 h 914403"/>
              <a:gd name="connsiteX0" fmla="*/ 0 w 1060704"/>
              <a:gd name="connsiteY0" fmla="*/ 914400 h 914401"/>
              <a:gd name="connsiteX1" fmla="*/ 530352 w 1060704"/>
              <a:gd name="connsiteY1" fmla="*/ 0 h 914401"/>
              <a:gd name="connsiteX2" fmla="*/ 1060704 w 1060704"/>
              <a:gd name="connsiteY2" fmla="*/ 914400 h 914401"/>
              <a:gd name="connsiteX3" fmla="*/ 531297 w 1060704"/>
              <a:gd name="connsiteY3" fmla="*/ 3710 h 914401"/>
              <a:gd name="connsiteX4" fmla="*/ 0 w 1060704"/>
              <a:gd name="connsiteY4" fmla="*/ 914400 h 914401"/>
              <a:gd name="connsiteX0" fmla="*/ 0 w 1060704"/>
              <a:gd name="connsiteY0" fmla="*/ 914400 h 914399"/>
              <a:gd name="connsiteX1" fmla="*/ 530352 w 1060704"/>
              <a:gd name="connsiteY1" fmla="*/ 0 h 914399"/>
              <a:gd name="connsiteX2" fmla="*/ 1060704 w 1060704"/>
              <a:gd name="connsiteY2" fmla="*/ 914400 h 914399"/>
              <a:gd name="connsiteX3" fmla="*/ 531297 w 1060704"/>
              <a:gd name="connsiteY3" fmla="*/ 3710 h 914399"/>
              <a:gd name="connsiteX4" fmla="*/ 0 w 1060704"/>
              <a:gd name="connsiteY4" fmla="*/ 914400 h 914399"/>
              <a:gd name="connsiteX0" fmla="*/ 0 w 1060704"/>
              <a:gd name="connsiteY0" fmla="*/ 914400 h 914401"/>
              <a:gd name="connsiteX1" fmla="*/ 530352 w 1060704"/>
              <a:gd name="connsiteY1" fmla="*/ 0 h 914401"/>
              <a:gd name="connsiteX2" fmla="*/ 1060704 w 1060704"/>
              <a:gd name="connsiteY2" fmla="*/ 914400 h 914401"/>
              <a:gd name="connsiteX3" fmla="*/ 531297 w 1060704"/>
              <a:gd name="connsiteY3" fmla="*/ 3710 h 914401"/>
              <a:gd name="connsiteX4" fmla="*/ 0 w 1060704"/>
              <a:gd name="connsiteY4" fmla="*/ 914400 h 9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0704" h="914401">
                <a:moveTo>
                  <a:pt x="0" y="914400"/>
                </a:moveTo>
                <a:lnTo>
                  <a:pt x="530352" y="0"/>
                </a:lnTo>
                <a:lnTo>
                  <a:pt x="1060704" y="914400"/>
                </a:lnTo>
                <a:cubicBezTo>
                  <a:pt x="1043633" y="904331"/>
                  <a:pt x="533192" y="-1403"/>
                  <a:pt x="531297" y="3710"/>
                </a:cubicBezTo>
                <a:cubicBezTo>
                  <a:pt x="531312" y="-139"/>
                  <a:pt x="18968" y="884091"/>
                  <a:pt x="0" y="914400"/>
                </a:cubicBezTo>
                <a:close/>
              </a:path>
            </a:pathLst>
          </a:custGeom>
          <a:noFill/>
          <a:ln w="34925">
            <a:solidFill>
              <a:schemeClr val="accent1"/>
            </a:solidFill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cs-CZ"/>
          </a:p>
        </p:txBody>
      </p:sp>
      <p:sp>
        <p:nvSpPr>
          <p:cNvPr id="9" name="Zástupný text 2">
            <a:extLst>
              <a:ext uri="{FF2B5EF4-FFF2-40B4-BE49-F238E27FC236}">
                <a16:creationId xmlns:a16="http://schemas.microsoft.com/office/drawing/2014/main" id="{7BACBAD4-6DA3-FC34-9EBE-50400CF3C80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50862" y="2852936"/>
            <a:ext cx="5041081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67CAEF5D-8A72-3ED8-0DF0-628C1A02348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518527" y="2862278"/>
            <a:ext cx="5041081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9346190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á strán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DAE7AB3-9B6E-BF47-BB76-1CC7504E66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7" descr="Text&#10;&#10;Description automatically generated with low confidence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92" y="489816"/>
            <a:ext cx="1584176" cy="638583"/>
          </a:xfrm>
          <a:prstGeom prst="rect">
            <a:avLst/>
          </a:prstGeom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E78311E9-823A-C345-B582-8BE42DF1DB8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1384" y="2204864"/>
            <a:ext cx="6192837" cy="1439862"/>
          </a:xfrm>
          <a:prstGeom prst="rect">
            <a:avLst/>
          </a:prstGeom>
        </p:spPr>
        <p:txBody>
          <a:bodyPr/>
          <a:lstStyle>
            <a:lvl1pPr>
              <a:defRPr sz="42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2pPr>
            <a:lvl3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3pPr>
            <a:lvl4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4pPr>
            <a:lvl5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E20F95B7-E9A7-E44D-9B6C-84F2432512B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1384" y="4006577"/>
            <a:ext cx="3960812" cy="790575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01F90324-8788-09F4-3BA0-EC9EB6C21700}"/>
              </a:ext>
            </a:extLst>
          </p:cNvPr>
          <p:cNvSpPr/>
          <p:nvPr userDrawn="1"/>
        </p:nvSpPr>
        <p:spPr>
          <a:xfrm>
            <a:off x="11136560" y="6237312"/>
            <a:ext cx="576064" cy="504056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7018261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ka_a_titul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3392" y="1628800"/>
            <a:ext cx="10936218" cy="46085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0F265A4D-3619-6F13-4CB9-947AC0A970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1383" y="332656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175395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_obrázk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83686" y="1700809"/>
            <a:ext cx="2340992" cy="41805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7" name="Zástupný symbol obrázku 5">
            <a:extLst>
              <a:ext uri="{FF2B5EF4-FFF2-40B4-BE49-F238E27FC236}">
                <a16:creationId xmlns:a16="http://schemas.microsoft.com/office/drawing/2014/main" id="{C0814DBB-8071-67A4-174A-6351EE21F52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538984" y="1700809"/>
            <a:ext cx="2340992" cy="41805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sp>
        <p:nvSpPr>
          <p:cNvPr id="8" name="Zástupný symbol obrázku 5">
            <a:extLst>
              <a:ext uri="{FF2B5EF4-FFF2-40B4-BE49-F238E27FC236}">
                <a16:creationId xmlns:a16="http://schemas.microsoft.com/office/drawing/2014/main" id="{67167C5F-EDD1-C832-F5F8-B4EF62F8211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03280" y="1700808"/>
            <a:ext cx="2340992" cy="41805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sp>
        <p:nvSpPr>
          <p:cNvPr id="9" name="Zástupný symbol obrázku 5">
            <a:extLst>
              <a:ext uri="{FF2B5EF4-FFF2-40B4-BE49-F238E27FC236}">
                <a16:creationId xmlns:a16="http://schemas.microsoft.com/office/drawing/2014/main" id="{4F4E371C-FF85-034C-CE97-02118F8BCAB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867576" y="1700808"/>
            <a:ext cx="2340992" cy="41805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893F3FA6-92AB-6241-CAA8-95BBA203DA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3686" y="1340768"/>
            <a:ext cx="234099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en-US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E384EC8A-803F-50CF-E7EA-271BB97F0E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538984" y="1340768"/>
            <a:ext cx="234099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en-US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BC8D0283-37C0-F910-154D-8138A9CF911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03280" y="1340768"/>
            <a:ext cx="234099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en-US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DC0D5987-1A9D-5E81-E756-0F9A83AE7B2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867576" y="1340768"/>
            <a:ext cx="234099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en-US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476844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_obrázk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59360" y="1484784"/>
            <a:ext cx="3124082" cy="44685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7" name="Zástupný symbol obrázku 5">
            <a:extLst>
              <a:ext uri="{FF2B5EF4-FFF2-40B4-BE49-F238E27FC236}">
                <a16:creationId xmlns:a16="http://schemas.microsoft.com/office/drawing/2014/main" id="{C0814DBB-8071-67A4-174A-6351EE21F52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499466" y="1481054"/>
            <a:ext cx="3124082" cy="44685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sp>
        <p:nvSpPr>
          <p:cNvPr id="8" name="Zástupný symbol obrázku 5">
            <a:extLst>
              <a:ext uri="{FF2B5EF4-FFF2-40B4-BE49-F238E27FC236}">
                <a16:creationId xmlns:a16="http://schemas.microsoft.com/office/drawing/2014/main" id="{67167C5F-EDD1-C832-F5F8-B4EF62F8211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839572" y="1484783"/>
            <a:ext cx="3068606" cy="44685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sp>
        <p:nvSpPr>
          <p:cNvPr id="9" name="Text Placeholder 21">
            <a:extLst>
              <a:ext uri="{FF2B5EF4-FFF2-40B4-BE49-F238E27FC236}">
                <a16:creationId xmlns:a16="http://schemas.microsoft.com/office/drawing/2014/main" id="{91730CE2-54CA-7822-FC69-21FD079EDD1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59360" y="1121014"/>
            <a:ext cx="312408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en-US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  <p:sp>
        <p:nvSpPr>
          <p:cNvPr id="10" name="Text Placeholder 21">
            <a:extLst>
              <a:ext uri="{FF2B5EF4-FFF2-40B4-BE49-F238E27FC236}">
                <a16:creationId xmlns:a16="http://schemas.microsoft.com/office/drawing/2014/main" id="{DB2BF174-208D-4CAA-964B-B20D4BF252B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99466" y="1121014"/>
            <a:ext cx="312408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en-US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1E70D5AD-B0EC-A0CA-BA0C-514CBDF39E9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39572" y="1121014"/>
            <a:ext cx="3068606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en-US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93476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_obrázky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5400" y="980728"/>
            <a:ext cx="4360576" cy="223224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9" name="Zástupný symbol obrázku 5">
            <a:extLst>
              <a:ext uri="{FF2B5EF4-FFF2-40B4-BE49-F238E27FC236}">
                <a16:creationId xmlns:a16="http://schemas.microsoft.com/office/drawing/2014/main" id="{436FB165-3355-0608-17AA-55271C8520A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5400" y="3717032"/>
            <a:ext cx="4360576" cy="230425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B63CCBDE-E186-7A2F-6229-94CA73D7B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231904" y="980728"/>
            <a:ext cx="2448272" cy="50405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sp>
        <p:nvSpPr>
          <p:cNvPr id="11" name="Zástupný symbol obrázku 5">
            <a:extLst>
              <a:ext uri="{FF2B5EF4-FFF2-40B4-BE49-F238E27FC236}">
                <a16:creationId xmlns:a16="http://schemas.microsoft.com/office/drawing/2014/main" id="{1F8AB5F7-2014-3DE5-A3E7-7270C5725B7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836423" y="980728"/>
            <a:ext cx="2448272" cy="50405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945F3B21-C1EB-48B8-50D4-6A1748F784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7774" y="62068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en-US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  <p:sp>
        <p:nvSpPr>
          <p:cNvPr id="8" name="Text Placeholder 21">
            <a:extLst>
              <a:ext uri="{FF2B5EF4-FFF2-40B4-BE49-F238E27FC236}">
                <a16:creationId xmlns:a16="http://schemas.microsoft.com/office/drawing/2014/main" id="{678171B0-6EE8-F925-C2D7-E083CA87A0E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31904" y="620688"/>
            <a:ext cx="244827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en-US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1233071-C0AF-A6FF-94AC-46A2C47190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36423" y="620688"/>
            <a:ext cx="244827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en-US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025A8E0E-07B3-81B9-AE5F-9B5C442507F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95400" y="3356992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en-US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789696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_obrázky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43472" y="980728"/>
            <a:ext cx="4360576" cy="230425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9" name="Zástupný symbol obrázku 5">
            <a:extLst>
              <a:ext uri="{FF2B5EF4-FFF2-40B4-BE49-F238E27FC236}">
                <a16:creationId xmlns:a16="http://schemas.microsoft.com/office/drawing/2014/main" id="{436FB165-3355-0608-17AA-55271C8520A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343472" y="3861048"/>
            <a:ext cx="4360576" cy="237626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sp>
        <p:nvSpPr>
          <p:cNvPr id="7" name="Zástupný symbol obrázku 5">
            <a:extLst>
              <a:ext uri="{FF2B5EF4-FFF2-40B4-BE49-F238E27FC236}">
                <a16:creationId xmlns:a16="http://schemas.microsoft.com/office/drawing/2014/main" id="{8F5D8973-3623-56C4-F175-AA531064B70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839880" y="980728"/>
            <a:ext cx="4360576" cy="230425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sp>
        <p:nvSpPr>
          <p:cNvPr id="8" name="Zástupný symbol obrázku 5">
            <a:extLst>
              <a:ext uri="{FF2B5EF4-FFF2-40B4-BE49-F238E27FC236}">
                <a16:creationId xmlns:a16="http://schemas.microsoft.com/office/drawing/2014/main" id="{B69B087A-BDA0-4CA2-449A-220C8A0CFC5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839880" y="3861048"/>
            <a:ext cx="4360576" cy="237626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sp>
        <p:nvSpPr>
          <p:cNvPr id="10" name="Text Placeholder 21">
            <a:extLst>
              <a:ext uri="{FF2B5EF4-FFF2-40B4-BE49-F238E27FC236}">
                <a16:creationId xmlns:a16="http://schemas.microsoft.com/office/drawing/2014/main" id="{2BFD1512-966D-221D-D013-1D5926C29E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343472" y="62068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en-US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8DA5E481-C11E-8F62-C173-EB5E740CA92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839880" y="62068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en-US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DFB8C3E3-2FE9-B311-B7CF-01BBFF854D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346201" y="350100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en-US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F4DAA9EE-3EDA-EC4D-177C-25C6F8166D0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842609" y="350100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en-US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272163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_obrázky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43472" y="980728"/>
            <a:ext cx="4360576" cy="230425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7" name="Zástupný symbol obrázku 5">
            <a:extLst>
              <a:ext uri="{FF2B5EF4-FFF2-40B4-BE49-F238E27FC236}">
                <a16:creationId xmlns:a16="http://schemas.microsoft.com/office/drawing/2014/main" id="{8F5D8973-3623-56C4-F175-AA531064B70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839880" y="980728"/>
            <a:ext cx="4360576" cy="230425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5DEC724E-C033-F047-E07F-A09C002E2A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346884" y="3789040"/>
            <a:ext cx="8853572" cy="244827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sp>
        <p:nvSpPr>
          <p:cNvPr id="8" name="Text Placeholder 21">
            <a:extLst>
              <a:ext uri="{FF2B5EF4-FFF2-40B4-BE49-F238E27FC236}">
                <a16:creationId xmlns:a16="http://schemas.microsoft.com/office/drawing/2014/main" id="{F1F6C668-6FE5-FD98-0570-A9E9B52A58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343472" y="62068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en-US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  <p:sp>
        <p:nvSpPr>
          <p:cNvPr id="9" name="Text Placeholder 21">
            <a:extLst>
              <a:ext uri="{FF2B5EF4-FFF2-40B4-BE49-F238E27FC236}">
                <a16:creationId xmlns:a16="http://schemas.microsoft.com/office/drawing/2014/main" id="{5FAE5FDF-3F80-54F4-CE26-DBE350647B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839880" y="62068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en-US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8B83B143-D77D-61B6-FBCF-F08314D2B28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343472" y="3429000"/>
            <a:ext cx="885357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en-US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346226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ránka s fotko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0F265A4D-3619-6F13-4CB9-947AC0A970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81619" y="332656"/>
            <a:ext cx="4022893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Zástupný text 2">
            <a:extLst>
              <a:ext uri="{FF2B5EF4-FFF2-40B4-BE49-F238E27FC236}">
                <a16:creationId xmlns:a16="http://schemas.microsoft.com/office/drawing/2014/main" id="{F4C121A6-3D8E-FD24-AE30-7D21C7FCA8B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50898" y="1918502"/>
            <a:ext cx="490871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2661577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338004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0F265A4D-3619-6F13-4CB9-947AC0A970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81619" y="332656"/>
            <a:ext cx="4022893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Zástupný symbol obrázku 5">
            <a:extLst>
              <a:ext uri="{FF2B5EF4-FFF2-40B4-BE49-F238E27FC236}">
                <a16:creationId xmlns:a16="http://schemas.microsoft.com/office/drawing/2014/main" id="{C6D106E1-2BA3-6D0D-BE93-FAD81BEA0BC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3477954"/>
            <a:ext cx="6096000" cy="338004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sp>
        <p:nvSpPr>
          <p:cNvPr id="8" name="Zástupný text 2">
            <a:extLst>
              <a:ext uri="{FF2B5EF4-FFF2-40B4-BE49-F238E27FC236}">
                <a16:creationId xmlns:a16="http://schemas.microsoft.com/office/drawing/2014/main" id="{96D3A5E4-D310-DB89-29F2-CCD1C5DFFA4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50898" y="1918502"/>
            <a:ext cx="490871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217850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ka_a_titul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3392" y="1628800"/>
            <a:ext cx="10936218" cy="460851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0F265A4D-3619-6F13-4CB9-947AC0A970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1383" y="332656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141211778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ránka s fotko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5E8F0922-9B60-F37C-EBF9-66BDEC3461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0939" y="332656"/>
            <a:ext cx="5031005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908DA53C-6579-3BD0-5B5E-839900171CC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8682" y="1930049"/>
            <a:ext cx="502326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869173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2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5E8F0922-9B60-F37C-EBF9-66BDEC3461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0939" y="332656"/>
            <a:ext cx="5031005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Zástupný symbol obrázku 5">
            <a:extLst>
              <a:ext uri="{FF2B5EF4-FFF2-40B4-BE49-F238E27FC236}">
                <a16:creationId xmlns:a16="http://schemas.microsoft.com/office/drawing/2014/main" id="{0D4A35CD-ECE1-9CD2-59DC-446B9844E7A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338004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3FBEC363-76F6-C438-912D-EF2FD2CD956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3477954"/>
            <a:ext cx="6096000" cy="338004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sp>
        <p:nvSpPr>
          <p:cNvPr id="11" name="Zástupný text 2">
            <a:extLst>
              <a:ext uri="{FF2B5EF4-FFF2-40B4-BE49-F238E27FC236}">
                <a16:creationId xmlns:a16="http://schemas.microsoft.com/office/drawing/2014/main" id="{FEFA80A1-4C72-C7F2-49F5-D691657C986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8682" y="1930049"/>
            <a:ext cx="502326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0894292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3429000"/>
            <a:ext cx="6096000" cy="3429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0F265A4D-3619-6F13-4CB9-947AC0A970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0939" y="332656"/>
            <a:ext cx="5031005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481D8A43-26C0-4F19-195B-DC10811183C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3024336" cy="335699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sp>
        <p:nvSpPr>
          <p:cNvPr id="12" name="Zástupný symbol obrázku 5">
            <a:extLst>
              <a:ext uri="{FF2B5EF4-FFF2-40B4-BE49-F238E27FC236}">
                <a16:creationId xmlns:a16="http://schemas.microsoft.com/office/drawing/2014/main" id="{718C012B-B3C7-8DDD-F0C5-9DE6C7C2CCB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192344" y="0"/>
            <a:ext cx="2975992" cy="335699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sp>
        <p:nvSpPr>
          <p:cNvPr id="8" name="Zástupný text 2">
            <a:extLst>
              <a:ext uri="{FF2B5EF4-FFF2-40B4-BE49-F238E27FC236}">
                <a16:creationId xmlns:a16="http://schemas.microsoft.com/office/drawing/2014/main" id="{6829CAE9-7D98-E2FD-C921-54BA8CADC7D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8682" y="1930049"/>
            <a:ext cx="502326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3408367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429000"/>
            <a:ext cx="6096000" cy="3429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481D8A43-26C0-4F19-195B-DC10811183C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024336" cy="335699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sp>
        <p:nvSpPr>
          <p:cNvPr id="12" name="Zástupný symbol obrázku 5">
            <a:extLst>
              <a:ext uri="{FF2B5EF4-FFF2-40B4-BE49-F238E27FC236}">
                <a16:creationId xmlns:a16="http://schemas.microsoft.com/office/drawing/2014/main" id="{718C012B-B3C7-8DDD-F0C5-9DE6C7C2CCB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96344" y="0"/>
            <a:ext cx="2975992" cy="335699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A2696F3F-7A65-64A8-94F3-227A61117C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81619" y="332656"/>
            <a:ext cx="4022893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Zástupný text 2">
            <a:extLst>
              <a:ext uri="{FF2B5EF4-FFF2-40B4-BE49-F238E27FC236}">
                <a16:creationId xmlns:a16="http://schemas.microsoft.com/office/drawing/2014/main" id="{0B79C196-4283-06EE-E6EC-CDCF933B830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50898" y="1918502"/>
            <a:ext cx="490871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1972569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429000"/>
            <a:ext cx="3024336" cy="3429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481D8A43-26C0-4F19-195B-DC10811183C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024336" cy="335699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sp>
        <p:nvSpPr>
          <p:cNvPr id="12" name="Zástupný symbol obrázku 5">
            <a:extLst>
              <a:ext uri="{FF2B5EF4-FFF2-40B4-BE49-F238E27FC236}">
                <a16:creationId xmlns:a16="http://schemas.microsoft.com/office/drawing/2014/main" id="{718C012B-B3C7-8DDD-F0C5-9DE6C7C2CCB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96344" y="0"/>
            <a:ext cx="2975992" cy="335699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A2696F3F-7A65-64A8-94F3-227A61117C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81619" y="332656"/>
            <a:ext cx="4022893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Zástupný symbol obrázku 5">
            <a:extLst>
              <a:ext uri="{FF2B5EF4-FFF2-40B4-BE49-F238E27FC236}">
                <a16:creationId xmlns:a16="http://schemas.microsoft.com/office/drawing/2014/main" id="{953DEFEB-09ED-9E58-EF97-921059EC70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96344" y="3429000"/>
            <a:ext cx="2975992" cy="3429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sp>
        <p:nvSpPr>
          <p:cNvPr id="11" name="Zástupný text 2">
            <a:extLst>
              <a:ext uri="{FF2B5EF4-FFF2-40B4-BE49-F238E27FC236}">
                <a16:creationId xmlns:a16="http://schemas.microsoft.com/office/drawing/2014/main" id="{AF65E1E2-DCA5-AF05-B2E5-B9A612376F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50898" y="1918502"/>
            <a:ext cx="490871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2943976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03937" y="3429000"/>
            <a:ext cx="3024336" cy="3429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481D8A43-26C0-4F19-195B-DC10811183C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03937" y="0"/>
            <a:ext cx="3024336" cy="335699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sp>
        <p:nvSpPr>
          <p:cNvPr id="12" name="Zástupný symbol obrázku 5">
            <a:extLst>
              <a:ext uri="{FF2B5EF4-FFF2-40B4-BE49-F238E27FC236}">
                <a16:creationId xmlns:a16="http://schemas.microsoft.com/office/drawing/2014/main" id="{718C012B-B3C7-8DDD-F0C5-9DE6C7C2CCB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200281" y="0"/>
            <a:ext cx="2975992" cy="335699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sp>
        <p:nvSpPr>
          <p:cNvPr id="13" name="Zástupný symbol obrázku 5">
            <a:extLst>
              <a:ext uri="{FF2B5EF4-FFF2-40B4-BE49-F238E27FC236}">
                <a16:creationId xmlns:a16="http://schemas.microsoft.com/office/drawing/2014/main" id="{953DEFEB-09ED-9E58-EF97-921059EC70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200281" y="3429000"/>
            <a:ext cx="2975992" cy="3429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66DB134B-C8C4-ED9D-ECAA-BA0D3BE24F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0939" y="332656"/>
            <a:ext cx="5031005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Zástupný text 2">
            <a:extLst>
              <a:ext uri="{FF2B5EF4-FFF2-40B4-BE49-F238E27FC236}">
                <a16:creationId xmlns:a16="http://schemas.microsoft.com/office/drawing/2014/main" id="{91B7FDB3-283F-B7ED-C4C8-6DE20D6262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8682" y="1930049"/>
            <a:ext cx="502326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3625453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212976"/>
            <a:ext cx="12192000" cy="364502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E229C5F1-F978-7A97-F2F2-C2C8DEC8D0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B26B058F-4C24-C318-1E84-0729C2B541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7688" y="1738855"/>
            <a:ext cx="11009312" cy="1088821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0165770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212976"/>
            <a:ext cx="6048672" cy="364502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E229C5F1-F978-7A97-F2F2-C2C8DEC8D0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78DA8F50-FA33-1D19-B6C1-34ECF45C5D5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43330" y="3212976"/>
            <a:ext cx="6048672" cy="364502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sp>
        <p:nvSpPr>
          <p:cNvPr id="8" name="Zástupný text 2">
            <a:extLst>
              <a:ext uri="{FF2B5EF4-FFF2-40B4-BE49-F238E27FC236}">
                <a16:creationId xmlns:a16="http://schemas.microsoft.com/office/drawing/2014/main" id="{C85BB8FE-0315-B0D3-D079-149C3C492EC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7688" y="1738855"/>
            <a:ext cx="11009312" cy="1088821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6788844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212976"/>
            <a:ext cx="3985120" cy="364502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E229C5F1-F978-7A97-F2F2-C2C8DEC8D0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Zástupný symbol obrázku 5">
            <a:extLst>
              <a:ext uri="{FF2B5EF4-FFF2-40B4-BE49-F238E27FC236}">
                <a16:creationId xmlns:a16="http://schemas.microsoft.com/office/drawing/2014/main" id="{CDCCAF09-131E-3E4C-BE38-ACEF58EAB7D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103440" y="3212976"/>
            <a:ext cx="3985120" cy="364502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5F3DE0BA-D7D0-8A00-E37E-03B82DC518E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206880" y="3202672"/>
            <a:ext cx="3985120" cy="364502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sp>
        <p:nvSpPr>
          <p:cNvPr id="11" name="Zástupný text 2">
            <a:extLst>
              <a:ext uri="{FF2B5EF4-FFF2-40B4-BE49-F238E27FC236}">
                <a16:creationId xmlns:a16="http://schemas.microsoft.com/office/drawing/2014/main" id="{2637118B-9C7E-173F-E637-DEAF4CAAC30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7688" y="1738855"/>
            <a:ext cx="11009312" cy="1088821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4503875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e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7" descr="Text&#10;&#10;Description automatically generated with low confidence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92" y="489816"/>
            <a:ext cx="1584176" cy="63858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F05EA71-C82B-AA44-A4E8-85F0A5E0E09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6CE203-DE2C-6447-AC60-175A88E4C8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1235" y="2204864"/>
            <a:ext cx="6192837" cy="1439862"/>
          </a:xfrm>
          <a:prstGeom prst="rect">
            <a:avLst/>
          </a:prstGeom>
        </p:spPr>
        <p:txBody>
          <a:bodyPr/>
          <a:lstStyle>
            <a:lvl1pPr>
              <a:defRPr sz="42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2pPr>
            <a:lvl3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3pPr>
            <a:lvl4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4pPr>
            <a:lvl5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1AE5D401-F9B2-6641-97CF-0037D0D92A4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1384" y="4005064"/>
            <a:ext cx="3960812" cy="790575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A69235CD-E9C9-BD08-6F7F-570AE6AA2FA5}"/>
              </a:ext>
            </a:extLst>
          </p:cNvPr>
          <p:cNvSpPr/>
          <p:nvPr userDrawn="1"/>
        </p:nvSpPr>
        <p:spPr>
          <a:xfrm>
            <a:off x="11136560" y="6237312"/>
            <a:ext cx="576064" cy="504056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631547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_obrázk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83686" y="1700809"/>
            <a:ext cx="2340992" cy="418051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7" name="Zástupný symbol obrázku 5">
            <a:extLst>
              <a:ext uri="{FF2B5EF4-FFF2-40B4-BE49-F238E27FC236}">
                <a16:creationId xmlns:a16="http://schemas.microsoft.com/office/drawing/2014/main" id="{C0814DBB-8071-67A4-174A-6351EE21F52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538984" y="1700809"/>
            <a:ext cx="2340992" cy="418051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8" name="Zástupný symbol obrázku 5">
            <a:extLst>
              <a:ext uri="{FF2B5EF4-FFF2-40B4-BE49-F238E27FC236}">
                <a16:creationId xmlns:a16="http://schemas.microsoft.com/office/drawing/2014/main" id="{67167C5F-EDD1-C832-F5F8-B4EF62F8211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03280" y="1700808"/>
            <a:ext cx="2340992" cy="418051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9" name="Zástupný symbol obrázku 5">
            <a:extLst>
              <a:ext uri="{FF2B5EF4-FFF2-40B4-BE49-F238E27FC236}">
                <a16:creationId xmlns:a16="http://schemas.microsoft.com/office/drawing/2014/main" id="{4F4E371C-FF85-034C-CE97-02118F8BCAB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867576" y="1700808"/>
            <a:ext cx="2340992" cy="418051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893F3FA6-92AB-6241-CAA8-95BBA203DA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3686" y="1340768"/>
            <a:ext cx="234099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E384EC8A-803F-50CF-E7EA-271BB97F0E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538984" y="1340768"/>
            <a:ext cx="234099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BC8D0283-37C0-F910-154D-8138A9CF911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03280" y="1340768"/>
            <a:ext cx="234099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DC0D5987-1A9D-5E81-E756-0F9A83AE7B2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867576" y="1340768"/>
            <a:ext cx="234099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113008143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57120"/>
            <a:ext cx="10298111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596"/>
          <a:stretch/>
        </p:blipFill>
        <p:spPr>
          <a:xfrm>
            <a:off x="10920536" y="476672"/>
            <a:ext cx="639074" cy="641351"/>
          </a:xfrm>
          <a:prstGeom prst="rect">
            <a:avLst/>
          </a:prstGeom>
        </p:spPr>
      </p:pic>
      <p:sp>
        <p:nvSpPr>
          <p:cNvPr id="6" name="Text Placeholder 19">
            <a:extLst>
              <a:ext uri="{FF2B5EF4-FFF2-40B4-BE49-F238E27FC236}">
                <a16:creationId xmlns:a16="http://schemas.microsoft.com/office/drawing/2014/main" id="{AD1ED3B7-42DB-F308-0499-1C88F389A4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0862" y="1916113"/>
            <a:ext cx="10922001" cy="64633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7" name="Zástupný text 2">
            <a:extLst>
              <a:ext uri="{FF2B5EF4-FFF2-40B4-BE49-F238E27FC236}">
                <a16:creationId xmlns:a16="http://schemas.microsoft.com/office/drawing/2014/main" id="{59088635-C4A2-5DE7-C005-B34DB130725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0863" y="2852936"/>
            <a:ext cx="11009312" cy="1656878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57848872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>
            <a:extLst>
              <a:ext uri="{FF2B5EF4-FFF2-40B4-BE49-F238E27FC236}">
                <a16:creationId xmlns:a16="http://schemas.microsoft.com/office/drawing/2014/main" id="{E2E87EAA-51F0-067F-FAA6-5E9927829B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322"/>
          <a:stretch/>
        </p:blipFill>
        <p:spPr>
          <a:xfrm>
            <a:off x="5159896" y="0"/>
            <a:ext cx="7032104" cy="6858000"/>
          </a:xfrm>
          <a:prstGeom prst="rect">
            <a:avLst/>
          </a:prstGeom>
        </p:spPr>
      </p:pic>
      <p:pic>
        <p:nvPicPr>
          <p:cNvPr id="10" name="Picture 7" descr="Text&#10;&#10;Description automatically generated with low confidence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92" y="489816"/>
            <a:ext cx="1584176" cy="638583"/>
          </a:xfrm>
          <a:prstGeom prst="rect">
            <a:avLst/>
          </a:prstGeom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E2C9BB94-3B38-D149-AA59-8FBB1C2F637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1384" y="2204864"/>
            <a:ext cx="6192837" cy="1439862"/>
          </a:xfrm>
          <a:prstGeom prst="rect">
            <a:avLst/>
          </a:prstGeom>
        </p:spPr>
        <p:txBody>
          <a:bodyPr/>
          <a:lstStyle>
            <a:lvl1pPr>
              <a:defRPr sz="42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2pPr>
            <a:lvl3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3pPr>
            <a:lvl4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4pPr>
            <a:lvl5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5E38A212-C36F-7144-9D37-90118F79618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1384" y="3933056"/>
            <a:ext cx="3960812" cy="790575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412E00C7-8B18-2C9D-7073-7808A5FBEA53}"/>
              </a:ext>
            </a:extLst>
          </p:cNvPr>
          <p:cNvSpPr/>
          <p:nvPr userDrawn="1"/>
        </p:nvSpPr>
        <p:spPr>
          <a:xfrm>
            <a:off x="11208568" y="6237312"/>
            <a:ext cx="576064" cy="504056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CZ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1985259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57120"/>
            <a:ext cx="10298111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5"/>
          <a:stretch/>
        </p:blipFill>
        <p:spPr>
          <a:xfrm>
            <a:off x="10920536" y="476672"/>
            <a:ext cx="639074" cy="641351"/>
          </a:xfrm>
          <a:prstGeom prst="rect">
            <a:avLst/>
          </a:prstGeom>
        </p:spPr>
      </p:pic>
      <p:sp>
        <p:nvSpPr>
          <p:cNvPr id="6" name="Text Placeholder 19">
            <a:extLst>
              <a:ext uri="{FF2B5EF4-FFF2-40B4-BE49-F238E27FC236}">
                <a16:creationId xmlns:a16="http://schemas.microsoft.com/office/drawing/2014/main" id="{AD1ED3B7-42DB-F308-0499-1C88F389A4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0862" y="1916113"/>
            <a:ext cx="10922001" cy="64633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7" name="Zástupný text 2">
            <a:extLst>
              <a:ext uri="{FF2B5EF4-FFF2-40B4-BE49-F238E27FC236}">
                <a16:creationId xmlns:a16="http://schemas.microsoft.com/office/drawing/2014/main" id="{59088635-C4A2-5DE7-C005-B34DB130725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0863" y="2852936"/>
            <a:ext cx="11009312" cy="1656878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66148514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73FFA9-F99A-BB4D-AC2C-595EB81D9B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2" y="1916113"/>
            <a:ext cx="7633370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5"/>
          <a:stretch/>
        </p:blipFill>
        <p:spPr>
          <a:xfrm>
            <a:off x="10920536" y="476672"/>
            <a:ext cx="639074" cy="641351"/>
          </a:xfrm>
          <a:prstGeom prst="rect">
            <a:avLst/>
          </a:prstGeom>
        </p:spPr>
      </p:pic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93116F34-349C-1FDE-6668-5945EEE32E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18355" y="1930447"/>
            <a:ext cx="3024859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9" name="Zástupný text 2">
            <a:extLst>
              <a:ext uri="{FF2B5EF4-FFF2-40B4-BE49-F238E27FC236}">
                <a16:creationId xmlns:a16="http://schemas.microsoft.com/office/drawing/2014/main" id="{105B5414-D604-2C67-9C40-9F29B7F3CF3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3" y="2852936"/>
            <a:ext cx="7633368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A6C8BD78-AF5D-FB02-6E05-A11CBACFAD2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518354" y="2852936"/>
            <a:ext cx="3024859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404028462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va obsah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73FFA9-F99A-BB4D-AC2C-595EB81D9B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2" y="1916113"/>
            <a:ext cx="5329115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5"/>
          <a:stretch/>
        </p:blipFill>
        <p:spPr>
          <a:xfrm>
            <a:off x="10920536" y="476672"/>
            <a:ext cx="639074" cy="641351"/>
          </a:xfrm>
          <a:prstGeom prst="rect">
            <a:avLst/>
          </a:prstGeom>
        </p:spPr>
      </p:pic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93116F34-349C-1FDE-6668-5945EEE32E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67485" y="1930447"/>
            <a:ext cx="5329115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9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3" y="2852936"/>
            <a:ext cx="5329114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F98EC4A4-0E88-8EBD-0A2A-CA1D4D7A94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67485" y="2854500"/>
            <a:ext cx="5329114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18182504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ři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73FFA9-F99A-BB4D-AC2C-595EB81D9B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1916113"/>
            <a:ext cx="3456906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5"/>
          <a:stretch/>
        </p:blipFill>
        <p:spPr>
          <a:xfrm>
            <a:off x="10920536" y="476672"/>
            <a:ext cx="639074" cy="641351"/>
          </a:xfrm>
          <a:prstGeom prst="rect">
            <a:avLst/>
          </a:prstGeom>
        </p:spPr>
      </p:pic>
      <p:sp>
        <p:nvSpPr>
          <p:cNvPr id="13" name="Text Placeholder 19">
            <a:extLst>
              <a:ext uri="{FF2B5EF4-FFF2-40B4-BE49-F238E27FC236}">
                <a16:creationId xmlns:a16="http://schemas.microsoft.com/office/drawing/2014/main" id="{0AE1F90D-7037-11D7-076F-425EF0C965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6782" y="1916113"/>
            <a:ext cx="3456906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16" name="Text Placeholder 19">
            <a:extLst>
              <a:ext uri="{FF2B5EF4-FFF2-40B4-BE49-F238E27FC236}">
                <a16:creationId xmlns:a16="http://schemas.microsoft.com/office/drawing/2014/main" id="{E4190888-F957-A546-F6D6-C49AB95D143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02704" y="1916113"/>
            <a:ext cx="3456906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173E74EB-A934-6963-C407-AB4B32DCF65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50863" y="2852936"/>
            <a:ext cx="3456902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11" name="Zástupný text 2">
            <a:extLst>
              <a:ext uri="{FF2B5EF4-FFF2-40B4-BE49-F238E27FC236}">
                <a16:creationId xmlns:a16="http://schemas.microsoft.com/office/drawing/2014/main" id="{839157F3-F208-29FD-6B5C-06C1ECE6091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26782" y="2852936"/>
            <a:ext cx="3456902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17" name="Zástupný text 2">
            <a:extLst>
              <a:ext uri="{FF2B5EF4-FFF2-40B4-BE49-F238E27FC236}">
                <a16:creationId xmlns:a16="http://schemas.microsoft.com/office/drawing/2014/main" id="{0B242EDF-5B3C-5356-1CCB-C122EF7B110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02708" y="2852936"/>
            <a:ext cx="3456902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410666852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73FFA9-F99A-BB4D-AC2C-595EB81D9B7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0862" y="1916113"/>
            <a:ext cx="5041083" cy="8648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5"/>
          <a:stretch/>
        </p:blipFill>
        <p:spPr>
          <a:xfrm>
            <a:off x="10920536" y="476672"/>
            <a:ext cx="639074" cy="641351"/>
          </a:xfrm>
          <a:prstGeom prst="rect">
            <a:avLst/>
          </a:prstGeom>
        </p:spPr>
      </p:pic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93116F34-349C-1FDE-6668-5945EEE32EF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18527" y="1930447"/>
            <a:ext cx="5041083" cy="8648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53" name="Rovnoramenný trojúhelník 51">
            <a:extLst>
              <a:ext uri="{FF2B5EF4-FFF2-40B4-BE49-F238E27FC236}">
                <a16:creationId xmlns:a16="http://schemas.microsoft.com/office/drawing/2014/main" id="{27BC23DB-6645-12C3-D39D-15D9667188D9}"/>
              </a:ext>
            </a:extLst>
          </p:cNvPr>
          <p:cNvSpPr/>
          <p:nvPr userDrawn="1"/>
        </p:nvSpPr>
        <p:spPr>
          <a:xfrm rot="5400000">
            <a:off x="5871690" y="3365278"/>
            <a:ext cx="374705" cy="214117"/>
          </a:xfrm>
          <a:custGeom>
            <a:avLst/>
            <a:gdLst>
              <a:gd name="connsiteX0" fmla="*/ 0 w 1060704"/>
              <a:gd name="connsiteY0" fmla="*/ 914400 h 914400"/>
              <a:gd name="connsiteX1" fmla="*/ 530352 w 1060704"/>
              <a:gd name="connsiteY1" fmla="*/ 0 h 914400"/>
              <a:gd name="connsiteX2" fmla="*/ 1060704 w 1060704"/>
              <a:gd name="connsiteY2" fmla="*/ 914400 h 914400"/>
              <a:gd name="connsiteX3" fmla="*/ 0 w 1060704"/>
              <a:gd name="connsiteY3" fmla="*/ 914400 h 914400"/>
              <a:gd name="connsiteX0" fmla="*/ 0 w 1060704"/>
              <a:gd name="connsiteY0" fmla="*/ 914400 h 921103"/>
              <a:gd name="connsiteX1" fmla="*/ 530352 w 1060704"/>
              <a:gd name="connsiteY1" fmla="*/ 0 h 921103"/>
              <a:gd name="connsiteX2" fmla="*/ 1060704 w 1060704"/>
              <a:gd name="connsiteY2" fmla="*/ 914400 h 921103"/>
              <a:gd name="connsiteX3" fmla="*/ 516811 w 1060704"/>
              <a:gd name="connsiteY3" fmla="*/ 921103 h 921103"/>
              <a:gd name="connsiteX4" fmla="*/ 0 w 1060704"/>
              <a:gd name="connsiteY4" fmla="*/ 914400 h 921103"/>
              <a:gd name="connsiteX0" fmla="*/ 0 w 1060704"/>
              <a:gd name="connsiteY0" fmla="*/ 914400 h 914400"/>
              <a:gd name="connsiteX1" fmla="*/ 530352 w 1060704"/>
              <a:gd name="connsiteY1" fmla="*/ 0 h 914400"/>
              <a:gd name="connsiteX2" fmla="*/ 1060704 w 1060704"/>
              <a:gd name="connsiteY2" fmla="*/ 914400 h 914400"/>
              <a:gd name="connsiteX3" fmla="*/ 0 w 1060704"/>
              <a:gd name="connsiteY3" fmla="*/ 914400 h 914400"/>
              <a:gd name="connsiteX0" fmla="*/ 0 w 1060704"/>
              <a:gd name="connsiteY0" fmla="*/ 914400 h 914410"/>
              <a:gd name="connsiteX1" fmla="*/ 530352 w 1060704"/>
              <a:gd name="connsiteY1" fmla="*/ 0 h 914410"/>
              <a:gd name="connsiteX2" fmla="*/ 1060704 w 1060704"/>
              <a:gd name="connsiteY2" fmla="*/ 914400 h 914410"/>
              <a:gd name="connsiteX3" fmla="*/ 512318 w 1060704"/>
              <a:gd name="connsiteY3" fmla="*/ 789316 h 914410"/>
              <a:gd name="connsiteX4" fmla="*/ 0 w 1060704"/>
              <a:gd name="connsiteY4" fmla="*/ 914400 h 914410"/>
              <a:gd name="connsiteX0" fmla="*/ 0 w 1060704"/>
              <a:gd name="connsiteY0" fmla="*/ 914400 h 914410"/>
              <a:gd name="connsiteX1" fmla="*/ 530352 w 1060704"/>
              <a:gd name="connsiteY1" fmla="*/ 0 h 914410"/>
              <a:gd name="connsiteX2" fmla="*/ 1060704 w 1060704"/>
              <a:gd name="connsiteY2" fmla="*/ 914400 h 914410"/>
              <a:gd name="connsiteX3" fmla="*/ 512318 w 1060704"/>
              <a:gd name="connsiteY3" fmla="*/ 789316 h 914410"/>
              <a:gd name="connsiteX4" fmla="*/ 0 w 1060704"/>
              <a:gd name="connsiteY4" fmla="*/ 914400 h 914410"/>
              <a:gd name="connsiteX0" fmla="*/ 0 w 1060704"/>
              <a:gd name="connsiteY0" fmla="*/ 914400 h 914408"/>
              <a:gd name="connsiteX1" fmla="*/ 530352 w 1060704"/>
              <a:gd name="connsiteY1" fmla="*/ 0 h 914408"/>
              <a:gd name="connsiteX2" fmla="*/ 1060704 w 1060704"/>
              <a:gd name="connsiteY2" fmla="*/ 914400 h 914408"/>
              <a:gd name="connsiteX3" fmla="*/ 512318 w 1060704"/>
              <a:gd name="connsiteY3" fmla="*/ 789316 h 914408"/>
              <a:gd name="connsiteX4" fmla="*/ 0 w 1060704"/>
              <a:gd name="connsiteY4" fmla="*/ 914400 h 914408"/>
              <a:gd name="connsiteX0" fmla="*/ 0 w 1060704"/>
              <a:gd name="connsiteY0" fmla="*/ 914400 h 914403"/>
              <a:gd name="connsiteX1" fmla="*/ 530352 w 1060704"/>
              <a:gd name="connsiteY1" fmla="*/ 0 h 914403"/>
              <a:gd name="connsiteX2" fmla="*/ 1060704 w 1060704"/>
              <a:gd name="connsiteY2" fmla="*/ 914400 h 914403"/>
              <a:gd name="connsiteX3" fmla="*/ 519907 w 1060704"/>
              <a:gd name="connsiteY3" fmla="*/ 519858 h 914403"/>
              <a:gd name="connsiteX4" fmla="*/ 0 w 1060704"/>
              <a:gd name="connsiteY4" fmla="*/ 914400 h 914403"/>
              <a:gd name="connsiteX0" fmla="*/ 0 w 1060704"/>
              <a:gd name="connsiteY0" fmla="*/ 914400 h 914401"/>
              <a:gd name="connsiteX1" fmla="*/ 530352 w 1060704"/>
              <a:gd name="connsiteY1" fmla="*/ 0 h 914401"/>
              <a:gd name="connsiteX2" fmla="*/ 1060704 w 1060704"/>
              <a:gd name="connsiteY2" fmla="*/ 914400 h 914401"/>
              <a:gd name="connsiteX3" fmla="*/ 531297 w 1060704"/>
              <a:gd name="connsiteY3" fmla="*/ 3710 h 914401"/>
              <a:gd name="connsiteX4" fmla="*/ 0 w 1060704"/>
              <a:gd name="connsiteY4" fmla="*/ 914400 h 914401"/>
              <a:gd name="connsiteX0" fmla="*/ 0 w 1060704"/>
              <a:gd name="connsiteY0" fmla="*/ 914400 h 914399"/>
              <a:gd name="connsiteX1" fmla="*/ 530352 w 1060704"/>
              <a:gd name="connsiteY1" fmla="*/ 0 h 914399"/>
              <a:gd name="connsiteX2" fmla="*/ 1060704 w 1060704"/>
              <a:gd name="connsiteY2" fmla="*/ 914400 h 914399"/>
              <a:gd name="connsiteX3" fmla="*/ 531297 w 1060704"/>
              <a:gd name="connsiteY3" fmla="*/ 3710 h 914399"/>
              <a:gd name="connsiteX4" fmla="*/ 0 w 1060704"/>
              <a:gd name="connsiteY4" fmla="*/ 914400 h 914399"/>
              <a:gd name="connsiteX0" fmla="*/ 0 w 1060704"/>
              <a:gd name="connsiteY0" fmla="*/ 914400 h 914401"/>
              <a:gd name="connsiteX1" fmla="*/ 530352 w 1060704"/>
              <a:gd name="connsiteY1" fmla="*/ 0 h 914401"/>
              <a:gd name="connsiteX2" fmla="*/ 1060704 w 1060704"/>
              <a:gd name="connsiteY2" fmla="*/ 914400 h 914401"/>
              <a:gd name="connsiteX3" fmla="*/ 531297 w 1060704"/>
              <a:gd name="connsiteY3" fmla="*/ 3710 h 914401"/>
              <a:gd name="connsiteX4" fmla="*/ 0 w 1060704"/>
              <a:gd name="connsiteY4" fmla="*/ 914400 h 9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0704" h="914401">
                <a:moveTo>
                  <a:pt x="0" y="914400"/>
                </a:moveTo>
                <a:lnTo>
                  <a:pt x="530352" y="0"/>
                </a:lnTo>
                <a:lnTo>
                  <a:pt x="1060704" y="914400"/>
                </a:lnTo>
                <a:cubicBezTo>
                  <a:pt x="1043633" y="904331"/>
                  <a:pt x="533192" y="-1403"/>
                  <a:pt x="531297" y="3710"/>
                </a:cubicBezTo>
                <a:cubicBezTo>
                  <a:pt x="531312" y="-139"/>
                  <a:pt x="18968" y="884091"/>
                  <a:pt x="0" y="914400"/>
                </a:cubicBezTo>
                <a:close/>
              </a:path>
            </a:pathLst>
          </a:custGeom>
          <a:noFill/>
          <a:ln w="34925">
            <a:solidFill>
              <a:schemeClr val="accent1"/>
            </a:solidFill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cs-CZ"/>
          </a:p>
        </p:txBody>
      </p:sp>
      <p:sp>
        <p:nvSpPr>
          <p:cNvPr id="9" name="Zástupný text 2">
            <a:extLst>
              <a:ext uri="{FF2B5EF4-FFF2-40B4-BE49-F238E27FC236}">
                <a16:creationId xmlns:a16="http://schemas.microsoft.com/office/drawing/2014/main" id="{7BACBAD4-6DA3-FC34-9EBE-50400CF3C80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50862" y="2852936"/>
            <a:ext cx="5041081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67CAEF5D-8A72-3ED8-0DF0-628C1A02348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518527" y="2862278"/>
            <a:ext cx="5041081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22903888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á strán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DAE7AB3-9B6E-BF47-BB76-1CC7504E66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7" descr="Text&#10;&#10;Description automatically generated with low confidence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92" y="489816"/>
            <a:ext cx="1584176" cy="638583"/>
          </a:xfrm>
          <a:prstGeom prst="rect">
            <a:avLst/>
          </a:prstGeom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E78311E9-823A-C345-B582-8BE42DF1DB8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1384" y="2204864"/>
            <a:ext cx="6192837" cy="1439862"/>
          </a:xfrm>
          <a:prstGeom prst="rect">
            <a:avLst/>
          </a:prstGeom>
        </p:spPr>
        <p:txBody>
          <a:bodyPr/>
          <a:lstStyle>
            <a:lvl1pPr>
              <a:defRPr sz="42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2pPr>
            <a:lvl3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3pPr>
            <a:lvl4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4pPr>
            <a:lvl5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E20F95B7-E9A7-E44D-9B6C-84F2432512B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1384" y="4006577"/>
            <a:ext cx="3960812" cy="790575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01F90324-8788-09F4-3BA0-EC9EB6C21700}"/>
              </a:ext>
            </a:extLst>
          </p:cNvPr>
          <p:cNvSpPr/>
          <p:nvPr userDrawn="1"/>
        </p:nvSpPr>
        <p:spPr>
          <a:xfrm>
            <a:off x="11136560" y="6237312"/>
            <a:ext cx="576064" cy="504056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24589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ka_a_titul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3392" y="1628800"/>
            <a:ext cx="10936218" cy="460851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5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0F265A4D-3619-6F13-4CB9-947AC0A970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1383" y="332656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70106621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_obrázk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83686" y="1700809"/>
            <a:ext cx="2340992" cy="418051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5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7" name="Zástupný symbol obrázku 5">
            <a:extLst>
              <a:ext uri="{FF2B5EF4-FFF2-40B4-BE49-F238E27FC236}">
                <a16:creationId xmlns:a16="http://schemas.microsoft.com/office/drawing/2014/main" id="{C0814DBB-8071-67A4-174A-6351EE21F52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538984" y="1700809"/>
            <a:ext cx="2340992" cy="418051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8" name="Zástupný symbol obrázku 5">
            <a:extLst>
              <a:ext uri="{FF2B5EF4-FFF2-40B4-BE49-F238E27FC236}">
                <a16:creationId xmlns:a16="http://schemas.microsoft.com/office/drawing/2014/main" id="{67167C5F-EDD1-C832-F5F8-B4EF62F8211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03280" y="1700808"/>
            <a:ext cx="2340992" cy="418051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9" name="Zástupný symbol obrázku 5">
            <a:extLst>
              <a:ext uri="{FF2B5EF4-FFF2-40B4-BE49-F238E27FC236}">
                <a16:creationId xmlns:a16="http://schemas.microsoft.com/office/drawing/2014/main" id="{4F4E371C-FF85-034C-CE97-02118F8BCAB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867576" y="1700808"/>
            <a:ext cx="2340992" cy="418051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893F3FA6-92AB-6241-CAA8-95BBA203DA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3686" y="1340768"/>
            <a:ext cx="234099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E384EC8A-803F-50CF-E7EA-271BB97F0E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538984" y="1340768"/>
            <a:ext cx="234099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BC8D0283-37C0-F910-154D-8138A9CF911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03280" y="1340768"/>
            <a:ext cx="234099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DC0D5987-1A9D-5E81-E756-0F9A83AE7B2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867576" y="1340768"/>
            <a:ext cx="234099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30645098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_obrázk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59360" y="1484784"/>
            <a:ext cx="3124082" cy="446854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7" name="Zástupný symbol obrázku 5">
            <a:extLst>
              <a:ext uri="{FF2B5EF4-FFF2-40B4-BE49-F238E27FC236}">
                <a16:creationId xmlns:a16="http://schemas.microsoft.com/office/drawing/2014/main" id="{C0814DBB-8071-67A4-174A-6351EE21F52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499466" y="1481054"/>
            <a:ext cx="3124082" cy="446854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8" name="Zástupný symbol obrázku 5">
            <a:extLst>
              <a:ext uri="{FF2B5EF4-FFF2-40B4-BE49-F238E27FC236}">
                <a16:creationId xmlns:a16="http://schemas.microsoft.com/office/drawing/2014/main" id="{67167C5F-EDD1-C832-F5F8-B4EF62F8211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839572" y="1484783"/>
            <a:ext cx="3068606" cy="446854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9" name="Text Placeholder 21">
            <a:extLst>
              <a:ext uri="{FF2B5EF4-FFF2-40B4-BE49-F238E27FC236}">
                <a16:creationId xmlns:a16="http://schemas.microsoft.com/office/drawing/2014/main" id="{91730CE2-54CA-7822-FC69-21FD079EDD1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59360" y="1121014"/>
            <a:ext cx="312408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0" name="Text Placeholder 21">
            <a:extLst>
              <a:ext uri="{FF2B5EF4-FFF2-40B4-BE49-F238E27FC236}">
                <a16:creationId xmlns:a16="http://schemas.microsoft.com/office/drawing/2014/main" id="{DB2BF174-208D-4CAA-964B-B20D4BF252B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99466" y="1121014"/>
            <a:ext cx="312408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1E70D5AD-B0EC-A0CA-BA0C-514CBDF39E9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39572" y="1121014"/>
            <a:ext cx="3068606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212150612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_obrázk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59360" y="1484784"/>
            <a:ext cx="3124082" cy="446854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5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7" name="Zástupný symbol obrázku 5">
            <a:extLst>
              <a:ext uri="{FF2B5EF4-FFF2-40B4-BE49-F238E27FC236}">
                <a16:creationId xmlns:a16="http://schemas.microsoft.com/office/drawing/2014/main" id="{C0814DBB-8071-67A4-174A-6351EE21F52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499466" y="1481054"/>
            <a:ext cx="3124082" cy="446854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8" name="Zástupný symbol obrázku 5">
            <a:extLst>
              <a:ext uri="{FF2B5EF4-FFF2-40B4-BE49-F238E27FC236}">
                <a16:creationId xmlns:a16="http://schemas.microsoft.com/office/drawing/2014/main" id="{67167C5F-EDD1-C832-F5F8-B4EF62F8211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839572" y="1484783"/>
            <a:ext cx="3068606" cy="446854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9" name="Text Placeholder 21">
            <a:extLst>
              <a:ext uri="{FF2B5EF4-FFF2-40B4-BE49-F238E27FC236}">
                <a16:creationId xmlns:a16="http://schemas.microsoft.com/office/drawing/2014/main" id="{91730CE2-54CA-7822-FC69-21FD079EDD1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59360" y="1121014"/>
            <a:ext cx="312408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0" name="Text Placeholder 21">
            <a:extLst>
              <a:ext uri="{FF2B5EF4-FFF2-40B4-BE49-F238E27FC236}">
                <a16:creationId xmlns:a16="http://schemas.microsoft.com/office/drawing/2014/main" id="{DB2BF174-208D-4CAA-964B-B20D4BF252B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99466" y="1121014"/>
            <a:ext cx="312408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1E70D5AD-B0EC-A0CA-BA0C-514CBDF39E9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39572" y="1121014"/>
            <a:ext cx="3068606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104868550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_obrázky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5400" y="980728"/>
            <a:ext cx="4360576" cy="2232248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5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9" name="Zástupný symbol obrázku 5">
            <a:extLst>
              <a:ext uri="{FF2B5EF4-FFF2-40B4-BE49-F238E27FC236}">
                <a16:creationId xmlns:a16="http://schemas.microsoft.com/office/drawing/2014/main" id="{436FB165-3355-0608-17AA-55271C8520A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5400" y="3717032"/>
            <a:ext cx="4360576" cy="230425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B63CCBDE-E186-7A2F-6229-94CA73D7B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231904" y="980728"/>
            <a:ext cx="2448272" cy="504056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1" name="Zástupný symbol obrázku 5">
            <a:extLst>
              <a:ext uri="{FF2B5EF4-FFF2-40B4-BE49-F238E27FC236}">
                <a16:creationId xmlns:a16="http://schemas.microsoft.com/office/drawing/2014/main" id="{1F8AB5F7-2014-3DE5-A3E7-7270C5725B7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836423" y="980728"/>
            <a:ext cx="2448272" cy="504056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945F3B21-C1EB-48B8-50D4-6A1748F784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7774" y="62068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8" name="Text Placeholder 21">
            <a:extLst>
              <a:ext uri="{FF2B5EF4-FFF2-40B4-BE49-F238E27FC236}">
                <a16:creationId xmlns:a16="http://schemas.microsoft.com/office/drawing/2014/main" id="{678171B0-6EE8-F925-C2D7-E083CA87A0E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31904" y="620688"/>
            <a:ext cx="244827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1233071-C0AF-A6FF-94AC-46A2C47190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36423" y="620688"/>
            <a:ext cx="244827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025A8E0E-07B3-81B9-AE5F-9B5C442507F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95400" y="3356992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17366623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_obrázky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43472" y="980728"/>
            <a:ext cx="4360576" cy="230425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5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9" name="Zástupný symbol obrázku 5">
            <a:extLst>
              <a:ext uri="{FF2B5EF4-FFF2-40B4-BE49-F238E27FC236}">
                <a16:creationId xmlns:a16="http://schemas.microsoft.com/office/drawing/2014/main" id="{436FB165-3355-0608-17AA-55271C8520A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343472" y="3861048"/>
            <a:ext cx="4360576" cy="237626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7" name="Zástupný symbol obrázku 5">
            <a:extLst>
              <a:ext uri="{FF2B5EF4-FFF2-40B4-BE49-F238E27FC236}">
                <a16:creationId xmlns:a16="http://schemas.microsoft.com/office/drawing/2014/main" id="{8F5D8973-3623-56C4-F175-AA531064B70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839880" y="980728"/>
            <a:ext cx="4360576" cy="230425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8" name="Zástupný symbol obrázku 5">
            <a:extLst>
              <a:ext uri="{FF2B5EF4-FFF2-40B4-BE49-F238E27FC236}">
                <a16:creationId xmlns:a16="http://schemas.microsoft.com/office/drawing/2014/main" id="{B69B087A-BDA0-4CA2-449A-220C8A0CFC5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839880" y="3861048"/>
            <a:ext cx="4360576" cy="237626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0" name="Text Placeholder 21">
            <a:extLst>
              <a:ext uri="{FF2B5EF4-FFF2-40B4-BE49-F238E27FC236}">
                <a16:creationId xmlns:a16="http://schemas.microsoft.com/office/drawing/2014/main" id="{2BFD1512-966D-221D-D013-1D5926C29E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343472" y="62068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8DA5E481-C11E-8F62-C173-EB5E740CA92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839880" y="62068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DFB8C3E3-2FE9-B311-B7CF-01BBFF854D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346201" y="350100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F4DAA9EE-3EDA-EC4D-177C-25C6F8166D0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842609" y="350100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311912318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_obrázky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43472" y="980728"/>
            <a:ext cx="4360576" cy="230425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5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7" name="Zástupný symbol obrázku 5">
            <a:extLst>
              <a:ext uri="{FF2B5EF4-FFF2-40B4-BE49-F238E27FC236}">
                <a16:creationId xmlns:a16="http://schemas.microsoft.com/office/drawing/2014/main" id="{8F5D8973-3623-56C4-F175-AA531064B70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839880" y="980728"/>
            <a:ext cx="4360576" cy="230425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5DEC724E-C033-F047-E07F-A09C002E2A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346884" y="3789040"/>
            <a:ext cx="8853572" cy="244827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8" name="Text Placeholder 21">
            <a:extLst>
              <a:ext uri="{FF2B5EF4-FFF2-40B4-BE49-F238E27FC236}">
                <a16:creationId xmlns:a16="http://schemas.microsoft.com/office/drawing/2014/main" id="{F1F6C668-6FE5-FD98-0570-A9E9B52A58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343472" y="62068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9" name="Text Placeholder 21">
            <a:extLst>
              <a:ext uri="{FF2B5EF4-FFF2-40B4-BE49-F238E27FC236}">
                <a16:creationId xmlns:a16="http://schemas.microsoft.com/office/drawing/2014/main" id="{5FAE5FDF-3F80-54F4-CE26-DBE350647B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839880" y="62068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8B83B143-D77D-61B6-FBCF-F08314D2B28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343472" y="3429000"/>
            <a:ext cx="885357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332331428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ránka s fotko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5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0F265A4D-3619-6F13-4CB9-947AC0A970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81619" y="332656"/>
            <a:ext cx="4022893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7" name="Zástupný text 2">
            <a:extLst>
              <a:ext uri="{FF2B5EF4-FFF2-40B4-BE49-F238E27FC236}">
                <a16:creationId xmlns:a16="http://schemas.microsoft.com/office/drawing/2014/main" id="{F4C121A6-3D8E-FD24-AE30-7D21C7FCA8B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50898" y="1918502"/>
            <a:ext cx="490871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55472354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338004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5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0F265A4D-3619-6F13-4CB9-947AC0A970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81619" y="332656"/>
            <a:ext cx="4022893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7" name="Zástupný symbol obrázku 5">
            <a:extLst>
              <a:ext uri="{FF2B5EF4-FFF2-40B4-BE49-F238E27FC236}">
                <a16:creationId xmlns:a16="http://schemas.microsoft.com/office/drawing/2014/main" id="{C6D106E1-2BA3-6D0D-BE93-FAD81BEA0BC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3477954"/>
            <a:ext cx="6096000" cy="338004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8" name="Zástupný text 2">
            <a:extLst>
              <a:ext uri="{FF2B5EF4-FFF2-40B4-BE49-F238E27FC236}">
                <a16:creationId xmlns:a16="http://schemas.microsoft.com/office/drawing/2014/main" id="{96D3A5E4-D310-DB89-29F2-CCD1C5DFFA4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50898" y="1918502"/>
            <a:ext cx="490871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29759393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ránka s fotko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5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5E8F0922-9B60-F37C-EBF9-66BDEC3461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0939" y="332656"/>
            <a:ext cx="5031005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908DA53C-6579-3BD0-5B5E-839900171CC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8682" y="1930049"/>
            <a:ext cx="502326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1132515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2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5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5E8F0922-9B60-F37C-EBF9-66BDEC3461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0939" y="332656"/>
            <a:ext cx="5031005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9" name="Zástupný symbol obrázku 5">
            <a:extLst>
              <a:ext uri="{FF2B5EF4-FFF2-40B4-BE49-F238E27FC236}">
                <a16:creationId xmlns:a16="http://schemas.microsoft.com/office/drawing/2014/main" id="{0D4A35CD-ECE1-9CD2-59DC-446B9844E7A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338004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3FBEC363-76F6-C438-912D-EF2FD2CD956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3477954"/>
            <a:ext cx="6096000" cy="338004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1" name="Zástupný text 2">
            <a:extLst>
              <a:ext uri="{FF2B5EF4-FFF2-40B4-BE49-F238E27FC236}">
                <a16:creationId xmlns:a16="http://schemas.microsoft.com/office/drawing/2014/main" id="{FEFA80A1-4C72-C7F2-49F5-D691657C986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8682" y="1930049"/>
            <a:ext cx="502326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06705856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3429000"/>
            <a:ext cx="6096000" cy="3429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5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0F265A4D-3619-6F13-4CB9-947AC0A970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0939" y="332656"/>
            <a:ext cx="5031005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481D8A43-26C0-4F19-195B-DC10811183C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3024336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2" name="Zástupný symbol obrázku 5">
            <a:extLst>
              <a:ext uri="{FF2B5EF4-FFF2-40B4-BE49-F238E27FC236}">
                <a16:creationId xmlns:a16="http://schemas.microsoft.com/office/drawing/2014/main" id="{718C012B-B3C7-8DDD-F0C5-9DE6C7C2CCB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192344" y="0"/>
            <a:ext cx="2975992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8" name="Zástupný text 2">
            <a:extLst>
              <a:ext uri="{FF2B5EF4-FFF2-40B4-BE49-F238E27FC236}">
                <a16:creationId xmlns:a16="http://schemas.microsoft.com/office/drawing/2014/main" id="{6829CAE9-7D98-E2FD-C921-54BA8CADC7D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8682" y="1930049"/>
            <a:ext cx="502326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72596098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429000"/>
            <a:ext cx="6096000" cy="3429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90" b="-2595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481D8A43-26C0-4F19-195B-DC10811183C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024336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12" name="Zástupný symbol obrázku 5">
            <a:extLst>
              <a:ext uri="{FF2B5EF4-FFF2-40B4-BE49-F238E27FC236}">
                <a16:creationId xmlns:a16="http://schemas.microsoft.com/office/drawing/2014/main" id="{718C012B-B3C7-8DDD-F0C5-9DE6C7C2CCB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96344" y="0"/>
            <a:ext cx="2975992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A2696F3F-7A65-64A8-94F3-227A61117C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81619" y="332656"/>
            <a:ext cx="4022893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1" name="Zástupný text 2">
            <a:extLst>
              <a:ext uri="{FF2B5EF4-FFF2-40B4-BE49-F238E27FC236}">
                <a16:creationId xmlns:a16="http://schemas.microsoft.com/office/drawing/2014/main" id="{0B79C196-4283-06EE-E6EC-CDCF933B830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50898" y="1918502"/>
            <a:ext cx="490871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243741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slideLayout" Target="../slideLayouts/slideLayout52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32" Type="http://schemas.openxmlformats.org/officeDocument/2006/relationships/image" Target="../media/image5.emf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slideLayout" Target="../slideLayouts/slideLayout53.xml"/><Relationship Id="rId30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26" Type="http://schemas.openxmlformats.org/officeDocument/2006/relationships/slideLayout" Target="../slideLayouts/slideLayout80.xml"/><Relationship Id="rId3" Type="http://schemas.openxmlformats.org/officeDocument/2006/relationships/slideLayout" Target="../slideLayouts/slideLayout57.xml"/><Relationship Id="rId21" Type="http://schemas.openxmlformats.org/officeDocument/2006/relationships/slideLayout" Target="../slideLayouts/slideLayout75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5" Type="http://schemas.openxmlformats.org/officeDocument/2006/relationships/slideLayout" Target="../slideLayouts/slideLayout79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0" Type="http://schemas.openxmlformats.org/officeDocument/2006/relationships/slideLayout" Target="../slideLayouts/slideLayout74.xml"/><Relationship Id="rId29" Type="http://schemas.openxmlformats.org/officeDocument/2006/relationships/oleObject" Target="../embeddings/oleObject2.bin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24" Type="http://schemas.openxmlformats.org/officeDocument/2006/relationships/slideLayout" Target="../slideLayouts/slideLayout78.xml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23" Type="http://schemas.openxmlformats.org/officeDocument/2006/relationships/slideLayout" Target="../slideLayouts/slideLayout77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64.xml"/><Relationship Id="rId19" Type="http://schemas.openxmlformats.org/officeDocument/2006/relationships/slideLayout" Target="../slideLayouts/slideLayout73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slideLayout" Target="../slideLayouts/slideLayout76.xml"/><Relationship Id="rId27" Type="http://schemas.openxmlformats.org/officeDocument/2006/relationships/theme" Target="../theme/theme3.xml"/><Relationship Id="rId30" Type="http://schemas.openxmlformats.org/officeDocument/2006/relationships/image" Target="../media/image8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18" Type="http://schemas.openxmlformats.org/officeDocument/2006/relationships/slideLayout" Target="../slideLayouts/slideLayout98.xml"/><Relationship Id="rId26" Type="http://schemas.openxmlformats.org/officeDocument/2006/relationships/slideLayout" Target="../slideLayouts/slideLayout106.xml"/><Relationship Id="rId3" Type="http://schemas.openxmlformats.org/officeDocument/2006/relationships/slideLayout" Target="../slideLayouts/slideLayout83.xml"/><Relationship Id="rId21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5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0" Type="http://schemas.openxmlformats.org/officeDocument/2006/relationships/slideLayout" Target="../slideLayouts/slideLayout100.xml"/><Relationship Id="rId29" Type="http://schemas.openxmlformats.org/officeDocument/2006/relationships/theme" Target="../theme/theme4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24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23" Type="http://schemas.openxmlformats.org/officeDocument/2006/relationships/slideLayout" Target="../slideLayouts/slideLayout103.xml"/><Relationship Id="rId28" Type="http://schemas.openxmlformats.org/officeDocument/2006/relationships/slideLayout" Target="../slideLayouts/slideLayout108.xml"/><Relationship Id="rId10" Type="http://schemas.openxmlformats.org/officeDocument/2006/relationships/slideLayout" Target="../slideLayouts/slideLayout90.xml"/><Relationship Id="rId19" Type="http://schemas.openxmlformats.org/officeDocument/2006/relationships/slideLayout" Target="../slideLayouts/slideLayout99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Relationship Id="rId22" Type="http://schemas.openxmlformats.org/officeDocument/2006/relationships/slideLayout" Target="../slideLayouts/slideLayout102.xml"/><Relationship Id="rId27" Type="http://schemas.openxmlformats.org/officeDocument/2006/relationships/slideLayout" Target="../slideLayouts/slideLayout10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2568132" y="9944865"/>
            <a:ext cx="241706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377667" y="9944865"/>
            <a:ext cx="173726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8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5438395" y="9944865"/>
            <a:ext cx="173726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/>
          </a:p>
        </p:txBody>
      </p:sp>
      <p:sp>
        <p:nvSpPr>
          <p:cNvPr id="9" name="TextBox 38">
            <a:extLst>
              <a:ext uri="{FF2B5EF4-FFF2-40B4-BE49-F238E27FC236}">
                <a16:creationId xmlns:a16="http://schemas.microsoft.com/office/drawing/2014/main" id="{773C2588-4111-87C4-EB01-464A4CBCB7D4}"/>
              </a:ext>
            </a:extLst>
          </p:cNvPr>
          <p:cNvSpPr txBox="1"/>
          <p:nvPr userDrawn="1"/>
        </p:nvSpPr>
        <p:spPr>
          <a:xfrm>
            <a:off x="11280576" y="6392361"/>
            <a:ext cx="4320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82FC4441-48AB-466E-B5E2-7FA789F38293}" type="slidenum">
              <a:rPr lang="cs-CZ" sz="1200" smtClean="0">
                <a:solidFill>
                  <a:srgbClr val="3637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CZ" sz="1200">
              <a:solidFill>
                <a:srgbClr val="36373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4">
            <a:extLst>
              <a:ext uri="{FF2B5EF4-FFF2-40B4-BE49-F238E27FC236}">
                <a16:creationId xmlns:a16="http://schemas.microsoft.com/office/drawing/2014/main" id="{3CCF8F3B-F835-352F-074E-1A3CE78234A5}"/>
              </a:ext>
            </a:extLst>
          </p:cNvPr>
          <p:cNvSpPr txBox="1"/>
          <p:nvPr userDrawn="1"/>
        </p:nvSpPr>
        <p:spPr>
          <a:xfrm>
            <a:off x="551384" y="6392361"/>
            <a:ext cx="1651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noProof="1">
                <a:solidFill>
                  <a:srgbClr val="00C75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cez.cz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  <p:sldLayoutId id="2147483663" r:id="rId13"/>
    <p:sldLayoutId id="2147483664" r:id="rId14"/>
    <p:sldLayoutId id="2147483665" r:id="rId15"/>
    <p:sldLayoutId id="2147483666" r:id="rId16"/>
    <p:sldLayoutId id="2147483667" r:id="rId17"/>
    <p:sldLayoutId id="2147483668" r:id="rId18"/>
    <p:sldLayoutId id="2147483669" r:id="rId19"/>
    <p:sldLayoutId id="2147483670" r:id="rId20"/>
    <p:sldLayoutId id="2147483671" r:id="rId21"/>
    <p:sldLayoutId id="2147483672" r:id="rId22"/>
    <p:sldLayoutId id="2147483673" r:id="rId23"/>
    <p:sldLayoutId id="2147483674" r:id="rId24"/>
    <p:sldLayoutId id="2147483676" r:id="rId25"/>
    <p:sldLayoutId id="2147483679" r:id="rId26"/>
  </p:sldLayoutIdLst>
  <p:txStyles>
    <p:titleStyle>
      <a:lvl1pPr eaLnBrk="1" hangingPunct="1">
        <a:defRPr>
          <a:latin typeface="+mj-lt"/>
          <a:ea typeface="+mj-ea"/>
          <a:cs typeface="+mj-cs"/>
        </a:defRPr>
      </a:lvl1pPr>
    </p:titleStyle>
    <p:bodyStyle>
      <a:lvl1pPr marL="0" eaLnBrk="1" hangingPunct="1">
        <a:defRPr>
          <a:latin typeface="+mn-lt"/>
          <a:ea typeface="+mn-ea"/>
          <a:cs typeface="+mn-cs"/>
        </a:defRPr>
      </a:lvl1pPr>
      <a:lvl2pPr marL="457189" eaLnBrk="1" hangingPunct="1">
        <a:defRPr>
          <a:latin typeface="+mn-lt"/>
          <a:ea typeface="+mn-ea"/>
          <a:cs typeface="+mn-cs"/>
        </a:defRPr>
      </a:lvl2pPr>
      <a:lvl3pPr marL="914377" eaLnBrk="1" hangingPunct="1">
        <a:defRPr>
          <a:latin typeface="+mn-lt"/>
          <a:ea typeface="+mn-ea"/>
          <a:cs typeface="+mn-cs"/>
        </a:defRPr>
      </a:lvl3pPr>
      <a:lvl4pPr marL="1371566" eaLnBrk="1" hangingPunct="1">
        <a:defRPr>
          <a:latin typeface="+mn-lt"/>
          <a:ea typeface="+mn-ea"/>
          <a:cs typeface="+mn-cs"/>
        </a:defRPr>
      </a:lvl4pPr>
      <a:lvl5pPr marL="1828754" eaLnBrk="1" hangingPunct="1">
        <a:defRPr>
          <a:latin typeface="+mn-lt"/>
          <a:ea typeface="+mn-ea"/>
          <a:cs typeface="+mn-cs"/>
        </a:defRPr>
      </a:lvl5pPr>
      <a:lvl6pPr marL="2285943" eaLnBrk="1" hangingPunct="1">
        <a:defRPr>
          <a:latin typeface="+mn-lt"/>
          <a:ea typeface="+mn-ea"/>
          <a:cs typeface="+mn-cs"/>
        </a:defRPr>
      </a:lvl6pPr>
      <a:lvl7pPr marL="2743131" eaLnBrk="1" hangingPunct="1">
        <a:defRPr>
          <a:latin typeface="+mn-lt"/>
          <a:ea typeface="+mn-ea"/>
          <a:cs typeface="+mn-cs"/>
        </a:defRPr>
      </a:lvl7pPr>
      <a:lvl8pPr marL="3200320" eaLnBrk="1" hangingPunct="1">
        <a:defRPr>
          <a:latin typeface="+mn-lt"/>
          <a:ea typeface="+mn-ea"/>
          <a:cs typeface="+mn-cs"/>
        </a:defRPr>
      </a:lvl8pPr>
      <a:lvl9pPr marL="3657509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457189" eaLnBrk="1" hangingPunct="1">
        <a:defRPr>
          <a:latin typeface="+mn-lt"/>
          <a:ea typeface="+mn-ea"/>
          <a:cs typeface="+mn-cs"/>
        </a:defRPr>
      </a:lvl2pPr>
      <a:lvl3pPr marL="914377" eaLnBrk="1" hangingPunct="1">
        <a:defRPr>
          <a:latin typeface="+mn-lt"/>
          <a:ea typeface="+mn-ea"/>
          <a:cs typeface="+mn-cs"/>
        </a:defRPr>
      </a:lvl3pPr>
      <a:lvl4pPr marL="1371566" eaLnBrk="1" hangingPunct="1">
        <a:defRPr>
          <a:latin typeface="+mn-lt"/>
          <a:ea typeface="+mn-ea"/>
          <a:cs typeface="+mn-cs"/>
        </a:defRPr>
      </a:lvl4pPr>
      <a:lvl5pPr marL="1828754" eaLnBrk="1" hangingPunct="1">
        <a:defRPr>
          <a:latin typeface="+mn-lt"/>
          <a:ea typeface="+mn-ea"/>
          <a:cs typeface="+mn-cs"/>
        </a:defRPr>
      </a:lvl5pPr>
      <a:lvl6pPr marL="2285943" eaLnBrk="1" hangingPunct="1">
        <a:defRPr>
          <a:latin typeface="+mn-lt"/>
          <a:ea typeface="+mn-ea"/>
          <a:cs typeface="+mn-cs"/>
        </a:defRPr>
      </a:lvl6pPr>
      <a:lvl7pPr marL="2743131" eaLnBrk="1" hangingPunct="1">
        <a:defRPr>
          <a:latin typeface="+mn-lt"/>
          <a:ea typeface="+mn-ea"/>
          <a:cs typeface="+mn-cs"/>
        </a:defRPr>
      </a:lvl7pPr>
      <a:lvl8pPr marL="3200320" eaLnBrk="1" hangingPunct="1">
        <a:defRPr>
          <a:latin typeface="+mn-lt"/>
          <a:ea typeface="+mn-ea"/>
          <a:cs typeface="+mn-cs"/>
        </a:defRPr>
      </a:lvl8pPr>
      <a:lvl9pPr marL="3657509" eaLnBrk="1" hangingPunct="1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1383F70-CF7C-1DF0-76E3-18403E7058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3195862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592" imgH="595" progId="TCLayout.ActiveDocument.1">
                  <p:embed/>
                </p:oleObj>
              </mc:Choice>
              <mc:Fallback>
                <p:oleObj name="think-cell Slide" r:id="rId31" imgW="592" imgH="59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383F70-CF7C-1DF0-76E3-18403E7058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2568132" y="9944865"/>
            <a:ext cx="241706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377667" y="9944865"/>
            <a:ext cx="173726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8/2025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5438395" y="9944865"/>
            <a:ext cx="173726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 dirty="0"/>
          </a:p>
        </p:txBody>
      </p:sp>
      <p:sp>
        <p:nvSpPr>
          <p:cNvPr id="9" name="TextBox 38">
            <a:extLst>
              <a:ext uri="{FF2B5EF4-FFF2-40B4-BE49-F238E27FC236}">
                <a16:creationId xmlns:a16="http://schemas.microsoft.com/office/drawing/2014/main" id="{773C2588-4111-87C4-EB01-464A4CBCB7D4}"/>
              </a:ext>
            </a:extLst>
          </p:cNvPr>
          <p:cNvSpPr txBox="1"/>
          <p:nvPr userDrawn="1"/>
        </p:nvSpPr>
        <p:spPr>
          <a:xfrm>
            <a:off x="11280576" y="6392361"/>
            <a:ext cx="4320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82FC4441-48AB-466E-B5E2-7FA789F38293}" type="slidenum">
              <a:rPr lang="cs-CZ" sz="1200" smtClean="0">
                <a:solidFill>
                  <a:srgbClr val="3637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CZ" sz="1200" dirty="0">
              <a:solidFill>
                <a:srgbClr val="36373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4">
            <a:extLst>
              <a:ext uri="{FF2B5EF4-FFF2-40B4-BE49-F238E27FC236}">
                <a16:creationId xmlns:a16="http://schemas.microsoft.com/office/drawing/2014/main" id="{3CCF8F3B-F835-352F-074E-1A3CE78234A5}"/>
              </a:ext>
            </a:extLst>
          </p:cNvPr>
          <p:cNvSpPr txBox="1"/>
          <p:nvPr userDrawn="1"/>
        </p:nvSpPr>
        <p:spPr>
          <a:xfrm>
            <a:off x="551384" y="6392361"/>
            <a:ext cx="1651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noProof="1">
                <a:solidFill>
                  <a:srgbClr val="00C75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cez.cz</a:t>
            </a:r>
          </a:p>
        </p:txBody>
      </p:sp>
    </p:spTree>
    <p:extLst>
      <p:ext uri="{BB962C8B-B14F-4D97-AF65-F5344CB8AC3E}">
        <p14:creationId xmlns:p14="http://schemas.microsoft.com/office/powerpoint/2010/main" val="183200012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  <p:sldLayoutId id="2147483696" r:id="rId15"/>
    <p:sldLayoutId id="2147483697" r:id="rId16"/>
    <p:sldLayoutId id="2147483698" r:id="rId17"/>
    <p:sldLayoutId id="2147483699" r:id="rId18"/>
    <p:sldLayoutId id="2147483700" r:id="rId19"/>
    <p:sldLayoutId id="2147483701" r:id="rId20"/>
    <p:sldLayoutId id="2147483702" r:id="rId21"/>
    <p:sldLayoutId id="2147483703" r:id="rId22"/>
    <p:sldLayoutId id="2147483704" r:id="rId23"/>
    <p:sldLayoutId id="2147483705" r:id="rId24"/>
    <p:sldLayoutId id="2147483706" r:id="rId25"/>
    <p:sldLayoutId id="2147483707" r:id="rId26"/>
    <p:sldLayoutId id="2147483708" r:id="rId27"/>
    <p:sldLayoutId id="2147483709" r:id="rId28"/>
  </p:sldLayoutIdLst>
  <p:txStyles>
    <p:titleStyle>
      <a:lvl1pPr eaLnBrk="1" hangingPunct="1">
        <a:defRPr>
          <a:latin typeface="+mj-lt"/>
          <a:ea typeface="+mj-ea"/>
          <a:cs typeface="+mj-cs"/>
        </a:defRPr>
      </a:lvl1pPr>
    </p:titleStyle>
    <p:bodyStyle>
      <a:lvl1pPr marL="0" eaLnBrk="1" hangingPunct="1">
        <a:defRPr>
          <a:latin typeface="+mn-lt"/>
          <a:ea typeface="+mn-ea"/>
          <a:cs typeface="+mn-cs"/>
        </a:defRPr>
      </a:lvl1pPr>
      <a:lvl2pPr marL="457189" eaLnBrk="1" hangingPunct="1">
        <a:defRPr>
          <a:latin typeface="+mn-lt"/>
          <a:ea typeface="+mn-ea"/>
          <a:cs typeface="+mn-cs"/>
        </a:defRPr>
      </a:lvl2pPr>
      <a:lvl3pPr marL="914377" eaLnBrk="1" hangingPunct="1">
        <a:defRPr>
          <a:latin typeface="+mn-lt"/>
          <a:ea typeface="+mn-ea"/>
          <a:cs typeface="+mn-cs"/>
        </a:defRPr>
      </a:lvl3pPr>
      <a:lvl4pPr marL="1371566" eaLnBrk="1" hangingPunct="1">
        <a:defRPr>
          <a:latin typeface="+mn-lt"/>
          <a:ea typeface="+mn-ea"/>
          <a:cs typeface="+mn-cs"/>
        </a:defRPr>
      </a:lvl4pPr>
      <a:lvl5pPr marL="1828754" eaLnBrk="1" hangingPunct="1">
        <a:defRPr>
          <a:latin typeface="+mn-lt"/>
          <a:ea typeface="+mn-ea"/>
          <a:cs typeface="+mn-cs"/>
        </a:defRPr>
      </a:lvl5pPr>
      <a:lvl6pPr marL="2285943" eaLnBrk="1" hangingPunct="1">
        <a:defRPr>
          <a:latin typeface="+mn-lt"/>
          <a:ea typeface="+mn-ea"/>
          <a:cs typeface="+mn-cs"/>
        </a:defRPr>
      </a:lvl6pPr>
      <a:lvl7pPr marL="2743131" eaLnBrk="1" hangingPunct="1">
        <a:defRPr>
          <a:latin typeface="+mn-lt"/>
          <a:ea typeface="+mn-ea"/>
          <a:cs typeface="+mn-cs"/>
        </a:defRPr>
      </a:lvl7pPr>
      <a:lvl8pPr marL="3200320" eaLnBrk="1" hangingPunct="1">
        <a:defRPr>
          <a:latin typeface="+mn-lt"/>
          <a:ea typeface="+mn-ea"/>
          <a:cs typeface="+mn-cs"/>
        </a:defRPr>
      </a:lvl8pPr>
      <a:lvl9pPr marL="3657509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457189" eaLnBrk="1" hangingPunct="1">
        <a:defRPr>
          <a:latin typeface="+mn-lt"/>
          <a:ea typeface="+mn-ea"/>
          <a:cs typeface="+mn-cs"/>
        </a:defRPr>
      </a:lvl2pPr>
      <a:lvl3pPr marL="914377" eaLnBrk="1" hangingPunct="1">
        <a:defRPr>
          <a:latin typeface="+mn-lt"/>
          <a:ea typeface="+mn-ea"/>
          <a:cs typeface="+mn-cs"/>
        </a:defRPr>
      </a:lvl3pPr>
      <a:lvl4pPr marL="1371566" eaLnBrk="1" hangingPunct="1">
        <a:defRPr>
          <a:latin typeface="+mn-lt"/>
          <a:ea typeface="+mn-ea"/>
          <a:cs typeface="+mn-cs"/>
        </a:defRPr>
      </a:lvl4pPr>
      <a:lvl5pPr marL="1828754" eaLnBrk="1" hangingPunct="1">
        <a:defRPr>
          <a:latin typeface="+mn-lt"/>
          <a:ea typeface="+mn-ea"/>
          <a:cs typeface="+mn-cs"/>
        </a:defRPr>
      </a:lvl5pPr>
      <a:lvl6pPr marL="2285943" eaLnBrk="1" hangingPunct="1">
        <a:defRPr>
          <a:latin typeface="+mn-lt"/>
          <a:ea typeface="+mn-ea"/>
          <a:cs typeface="+mn-cs"/>
        </a:defRPr>
      </a:lvl6pPr>
      <a:lvl7pPr marL="2743131" eaLnBrk="1" hangingPunct="1">
        <a:defRPr>
          <a:latin typeface="+mn-lt"/>
          <a:ea typeface="+mn-ea"/>
          <a:cs typeface="+mn-cs"/>
        </a:defRPr>
      </a:lvl7pPr>
      <a:lvl8pPr marL="3200320" eaLnBrk="1" hangingPunct="1">
        <a:defRPr>
          <a:latin typeface="+mn-lt"/>
          <a:ea typeface="+mn-ea"/>
          <a:cs typeface="+mn-cs"/>
        </a:defRPr>
      </a:lvl8pPr>
      <a:lvl9pPr marL="3657509" eaLnBrk="1" hangingPunct="1">
        <a:defRPr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E561689-2023-4F7E-A8E7-64DCE07E2C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222682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396" imgH="396" progId="TCLayout.ActiveDocument.1">
                  <p:embed/>
                </p:oleObj>
              </mc:Choice>
              <mc:Fallback>
                <p:oleObj name="think-cell Slide" r:id="rId29" imgW="396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E561689-2023-4F7E-A8E7-64DCE07E2C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2568132" y="9944865"/>
            <a:ext cx="241706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377667" y="9944865"/>
            <a:ext cx="173726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8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5438395" y="9944865"/>
            <a:ext cx="173726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/>
          </a:p>
        </p:txBody>
      </p:sp>
      <p:sp>
        <p:nvSpPr>
          <p:cNvPr id="9" name="TextBox 38">
            <a:extLst>
              <a:ext uri="{FF2B5EF4-FFF2-40B4-BE49-F238E27FC236}">
                <a16:creationId xmlns:a16="http://schemas.microsoft.com/office/drawing/2014/main" id="{773C2588-4111-87C4-EB01-464A4CBCB7D4}"/>
              </a:ext>
            </a:extLst>
          </p:cNvPr>
          <p:cNvSpPr txBox="1"/>
          <p:nvPr userDrawn="1"/>
        </p:nvSpPr>
        <p:spPr>
          <a:xfrm>
            <a:off x="11280576" y="6392361"/>
            <a:ext cx="4320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82FC4441-48AB-466E-B5E2-7FA789F38293}" type="slidenum">
              <a:rPr lang="cs-CZ" sz="1200" smtClean="0">
                <a:solidFill>
                  <a:srgbClr val="3637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CZ" sz="1200">
              <a:solidFill>
                <a:srgbClr val="36373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4">
            <a:extLst>
              <a:ext uri="{FF2B5EF4-FFF2-40B4-BE49-F238E27FC236}">
                <a16:creationId xmlns:a16="http://schemas.microsoft.com/office/drawing/2014/main" id="{3CCF8F3B-F835-352F-074E-1A3CE78234A5}"/>
              </a:ext>
            </a:extLst>
          </p:cNvPr>
          <p:cNvSpPr txBox="1"/>
          <p:nvPr userDrawn="1"/>
        </p:nvSpPr>
        <p:spPr>
          <a:xfrm>
            <a:off x="551384" y="6392361"/>
            <a:ext cx="1651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noProof="1">
                <a:solidFill>
                  <a:srgbClr val="00C75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cez.cz</a:t>
            </a:r>
          </a:p>
        </p:txBody>
      </p:sp>
    </p:spTree>
    <p:extLst>
      <p:ext uri="{BB962C8B-B14F-4D97-AF65-F5344CB8AC3E}">
        <p14:creationId xmlns:p14="http://schemas.microsoft.com/office/powerpoint/2010/main" val="1270788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25" r:id="rId15"/>
    <p:sldLayoutId id="2147483726" r:id="rId16"/>
    <p:sldLayoutId id="2147483727" r:id="rId17"/>
    <p:sldLayoutId id="2147483728" r:id="rId18"/>
    <p:sldLayoutId id="2147483729" r:id="rId19"/>
    <p:sldLayoutId id="2147483730" r:id="rId20"/>
    <p:sldLayoutId id="2147483731" r:id="rId21"/>
    <p:sldLayoutId id="2147483732" r:id="rId22"/>
    <p:sldLayoutId id="2147483733" r:id="rId23"/>
    <p:sldLayoutId id="2147483734" r:id="rId24"/>
    <p:sldLayoutId id="2147483735" r:id="rId25"/>
    <p:sldLayoutId id="2147483736" r:id="rId26"/>
  </p:sldLayoutIdLst>
  <p:txStyles>
    <p:titleStyle>
      <a:lvl1pPr eaLnBrk="1" hangingPunct="1">
        <a:defRPr>
          <a:latin typeface="+mj-lt"/>
          <a:ea typeface="+mj-ea"/>
          <a:cs typeface="+mj-cs"/>
        </a:defRPr>
      </a:lvl1pPr>
    </p:titleStyle>
    <p:bodyStyle>
      <a:lvl1pPr marL="0" eaLnBrk="1" hangingPunct="1">
        <a:defRPr>
          <a:latin typeface="+mn-lt"/>
          <a:ea typeface="+mn-ea"/>
          <a:cs typeface="+mn-cs"/>
        </a:defRPr>
      </a:lvl1pPr>
      <a:lvl2pPr marL="457189" eaLnBrk="1" hangingPunct="1">
        <a:defRPr>
          <a:latin typeface="+mn-lt"/>
          <a:ea typeface="+mn-ea"/>
          <a:cs typeface="+mn-cs"/>
        </a:defRPr>
      </a:lvl2pPr>
      <a:lvl3pPr marL="914377" eaLnBrk="1" hangingPunct="1">
        <a:defRPr>
          <a:latin typeface="+mn-lt"/>
          <a:ea typeface="+mn-ea"/>
          <a:cs typeface="+mn-cs"/>
        </a:defRPr>
      </a:lvl3pPr>
      <a:lvl4pPr marL="1371566" eaLnBrk="1" hangingPunct="1">
        <a:defRPr>
          <a:latin typeface="+mn-lt"/>
          <a:ea typeface="+mn-ea"/>
          <a:cs typeface="+mn-cs"/>
        </a:defRPr>
      </a:lvl4pPr>
      <a:lvl5pPr marL="1828754" eaLnBrk="1" hangingPunct="1">
        <a:defRPr>
          <a:latin typeface="+mn-lt"/>
          <a:ea typeface="+mn-ea"/>
          <a:cs typeface="+mn-cs"/>
        </a:defRPr>
      </a:lvl5pPr>
      <a:lvl6pPr marL="2285943" eaLnBrk="1" hangingPunct="1">
        <a:defRPr>
          <a:latin typeface="+mn-lt"/>
          <a:ea typeface="+mn-ea"/>
          <a:cs typeface="+mn-cs"/>
        </a:defRPr>
      </a:lvl6pPr>
      <a:lvl7pPr marL="2743131" eaLnBrk="1" hangingPunct="1">
        <a:defRPr>
          <a:latin typeface="+mn-lt"/>
          <a:ea typeface="+mn-ea"/>
          <a:cs typeface="+mn-cs"/>
        </a:defRPr>
      </a:lvl7pPr>
      <a:lvl8pPr marL="3200320" eaLnBrk="1" hangingPunct="1">
        <a:defRPr>
          <a:latin typeface="+mn-lt"/>
          <a:ea typeface="+mn-ea"/>
          <a:cs typeface="+mn-cs"/>
        </a:defRPr>
      </a:lvl8pPr>
      <a:lvl9pPr marL="3657509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457189" eaLnBrk="1" hangingPunct="1">
        <a:defRPr>
          <a:latin typeface="+mn-lt"/>
          <a:ea typeface="+mn-ea"/>
          <a:cs typeface="+mn-cs"/>
        </a:defRPr>
      </a:lvl2pPr>
      <a:lvl3pPr marL="914377" eaLnBrk="1" hangingPunct="1">
        <a:defRPr>
          <a:latin typeface="+mn-lt"/>
          <a:ea typeface="+mn-ea"/>
          <a:cs typeface="+mn-cs"/>
        </a:defRPr>
      </a:lvl3pPr>
      <a:lvl4pPr marL="1371566" eaLnBrk="1" hangingPunct="1">
        <a:defRPr>
          <a:latin typeface="+mn-lt"/>
          <a:ea typeface="+mn-ea"/>
          <a:cs typeface="+mn-cs"/>
        </a:defRPr>
      </a:lvl4pPr>
      <a:lvl5pPr marL="1828754" eaLnBrk="1" hangingPunct="1">
        <a:defRPr>
          <a:latin typeface="+mn-lt"/>
          <a:ea typeface="+mn-ea"/>
          <a:cs typeface="+mn-cs"/>
        </a:defRPr>
      </a:lvl5pPr>
      <a:lvl6pPr marL="2285943" eaLnBrk="1" hangingPunct="1">
        <a:defRPr>
          <a:latin typeface="+mn-lt"/>
          <a:ea typeface="+mn-ea"/>
          <a:cs typeface="+mn-cs"/>
        </a:defRPr>
      </a:lvl6pPr>
      <a:lvl7pPr marL="2743131" eaLnBrk="1" hangingPunct="1">
        <a:defRPr>
          <a:latin typeface="+mn-lt"/>
          <a:ea typeface="+mn-ea"/>
          <a:cs typeface="+mn-cs"/>
        </a:defRPr>
      </a:lvl7pPr>
      <a:lvl8pPr marL="3200320" eaLnBrk="1" hangingPunct="1">
        <a:defRPr>
          <a:latin typeface="+mn-lt"/>
          <a:ea typeface="+mn-ea"/>
          <a:cs typeface="+mn-cs"/>
        </a:defRPr>
      </a:lvl8pPr>
      <a:lvl9pPr marL="3657509" eaLnBrk="1" hangingPunct="1">
        <a:defRPr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2568132" y="9944865"/>
            <a:ext cx="241706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377667" y="9944865"/>
            <a:ext cx="173726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5438395" y="9944865"/>
            <a:ext cx="173726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/>
          </a:p>
        </p:txBody>
      </p:sp>
      <p:sp>
        <p:nvSpPr>
          <p:cNvPr id="9" name="TextBox 38">
            <a:extLst>
              <a:ext uri="{FF2B5EF4-FFF2-40B4-BE49-F238E27FC236}">
                <a16:creationId xmlns:a16="http://schemas.microsoft.com/office/drawing/2014/main" id="{773C2588-4111-87C4-EB01-464A4CBCB7D4}"/>
              </a:ext>
            </a:extLst>
          </p:cNvPr>
          <p:cNvSpPr txBox="1"/>
          <p:nvPr userDrawn="1"/>
        </p:nvSpPr>
        <p:spPr>
          <a:xfrm>
            <a:off x="11280576" y="6392361"/>
            <a:ext cx="4320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82FC4441-48AB-466E-B5E2-7FA789F38293}" type="slidenum">
              <a:rPr lang="cs-CZ" sz="1200" smtClean="0">
                <a:solidFill>
                  <a:srgbClr val="3637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CZ" sz="1200">
              <a:solidFill>
                <a:srgbClr val="36373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4">
            <a:extLst>
              <a:ext uri="{FF2B5EF4-FFF2-40B4-BE49-F238E27FC236}">
                <a16:creationId xmlns:a16="http://schemas.microsoft.com/office/drawing/2014/main" id="{3CCF8F3B-F835-352F-074E-1A3CE78234A5}"/>
              </a:ext>
            </a:extLst>
          </p:cNvPr>
          <p:cNvSpPr txBox="1"/>
          <p:nvPr userDrawn="1"/>
        </p:nvSpPr>
        <p:spPr>
          <a:xfrm>
            <a:off x="551384" y="6392361"/>
            <a:ext cx="1651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noProof="1">
                <a:solidFill>
                  <a:srgbClr val="00C75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cez.cz</a:t>
            </a:r>
          </a:p>
        </p:txBody>
      </p:sp>
    </p:spTree>
    <p:extLst>
      <p:ext uri="{BB962C8B-B14F-4D97-AF65-F5344CB8AC3E}">
        <p14:creationId xmlns:p14="http://schemas.microsoft.com/office/powerpoint/2010/main" val="222678912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  <p:sldLayoutId id="2147483753" r:id="rId15"/>
    <p:sldLayoutId id="2147483754" r:id="rId16"/>
    <p:sldLayoutId id="2147483755" r:id="rId17"/>
    <p:sldLayoutId id="2147483756" r:id="rId18"/>
    <p:sldLayoutId id="2147483757" r:id="rId19"/>
    <p:sldLayoutId id="2147483758" r:id="rId20"/>
    <p:sldLayoutId id="2147483759" r:id="rId21"/>
    <p:sldLayoutId id="2147483760" r:id="rId22"/>
    <p:sldLayoutId id="2147483761" r:id="rId23"/>
    <p:sldLayoutId id="2147483762" r:id="rId24"/>
    <p:sldLayoutId id="2147483763" r:id="rId25"/>
    <p:sldLayoutId id="2147483764" r:id="rId26"/>
    <p:sldLayoutId id="2147483765" r:id="rId27"/>
    <p:sldLayoutId id="2147483766" r:id="rId28"/>
  </p:sldLayoutIdLst>
  <p:hf sldNum="0" hdr="0" dt="0"/>
  <p:txStyles>
    <p:titleStyle>
      <a:lvl1pPr eaLnBrk="1" hangingPunct="1">
        <a:defRPr>
          <a:latin typeface="+mj-lt"/>
          <a:ea typeface="+mj-ea"/>
          <a:cs typeface="+mj-cs"/>
        </a:defRPr>
      </a:lvl1pPr>
    </p:titleStyle>
    <p:bodyStyle>
      <a:lvl1pPr marL="0" eaLnBrk="1" hangingPunct="1">
        <a:defRPr>
          <a:latin typeface="+mn-lt"/>
          <a:ea typeface="+mn-ea"/>
          <a:cs typeface="+mn-cs"/>
        </a:defRPr>
      </a:lvl1pPr>
      <a:lvl2pPr marL="457189" eaLnBrk="1" hangingPunct="1">
        <a:defRPr>
          <a:latin typeface="+mn-lt"/>
          <a:ea typeface="+mn-ea"/>
          <a:cs typeface="+mn-cs"/>
        </a:defRPr>
      </a:lvl2pPr>
      <a:lvl3pPr marL="914377" eaLnBrk="1" hangingPunct="1">
        <a:defRPr>
          <a:latin typeface="+mn-lt"/>
          <a:ea typeface="+mn-ea"/>
          <a:cs typeface="+mn-cs"/>
        </a:defRPr>
      </a:lvl3pPr>
      <a:lvl4pPr marL="1371566" eaLnBrk="1" hangingPunct="1">
        <a:defRPr>
          <a:latin typeface="+mn-lt"/>
          <a:ea typeface="+mn-ea"/>
          <a:cs typeface="+mn-cs"/>
        </a:defRPr>
      </a:lvl4pPr>
      <a:lvl5pPr marL="1828754" eaLnBrk="1" hangingPunct="1">
        <a:defRPr>
          <a:latin typeface="+mn-lt"/>
          <a:ea typeface="+mn-ea"/>
          <a:cs typeface="+mn-cs"/>
        </a:defRPr>
      </a:lvl5pPr>
      <a:lvl6pPr marL="2285943" eaLnBrk="1" hangingPunct="1">
        <a:defRPr>
          <a:latin typeface="+mn-lt"/>
          <a:ea typeface="+mn-ea"/>
          <a:cs typeface="+mn-cs"/>
        </a:defRPr>
      </a:lvl6pPr>
      <a:lvl7pPr marL="2743131" eaLnBrk="1" hangingPunct="1">
        <a:defRPr>
          <a:latin typeface="+mn-lt"/>
          <a:ea typeface="+mn-ea"/>
          <a:cs typeface="+mn-cs"/>
        </a:defRPr>
      </a:lvl7pPr>
      <a:lvl8pPr marL="3200320" eaLnBrk="1" hangingPunct="1">
        <a:defRPr>
          <a:latin typeface="+mn-lt"/>
          <a:ea typeface="+mn-ea"/>
          <a:cs typeface="+mn-cs"/>
        </a:defRPr>
      </a:lvl8pPr>
      <a:lvl9pPr marL="3657509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457189" eaLnBrk="1" hangingPunct="1">
        <a:defRPr>
          <a:latin typeface="+mn-lt"/>
          <a:ea typeface="+mn-ea"/>
          <a:cs typeface="+mn-cs"/>
        </a:defRPr>
      </a:lvl2pPr>
      <a:lvl3pPr marL="914377" eaLnBrk="1" hangingPunct="1">
        <a:defRPr>
          <a:latin typeface="+mn-lt"/>
          <a:ea typeface="+mn-ea"/>
          <a:cs typeface="+mn-cs"/>
        </a:defRPr>
      </a:lvl3pPr>
      <a:lvl4pPr marL="1371566" eaLnBrk="1" hangingPunct="1">
        <a:defRPr>
          <a:latin typeface="+mn-lt"/>
          <a:ea typeface="+mn-ea"/>
          <a:cs typeface="+mn-cs"/>
        </a:defRPr>
      </a:lvl4pPr>
      <a:lvl5pPr marL="1828754" eaLnBrk="1" hangingPunct="1">
        <a:defRPr>
          <a:latin typeface="+mn-lt"/>
          <a:ea typeface="+mn-ea"/>
          <a:cs typeface="+mn-cs"/>
        </a:defRPr>
      </a:lvl5pPr>
      <a:lvl6pPr marL="2285943" eaLnBrk="1" hangingPunct="1">
        <a:defRPr>
          <a:latin typeface="+mn-lt"/>
          <a:ea typeface="+mn-ea"/>
          <a:cs typeface="+mn-cs"/>
        </a:defRPr>
      </a:lvl6pPr>
      <a:lvl7pPr marL="2743131" eaLnBrk="1" hangingPunct="1">
        <a:defRPr>
          <a:latin typeface="+mn-lt"/>
          <a:ea typeface="+mn-ea"/>
          <a:cs typeface="+mn-cs"/>
        </a:defRPr>
      </a:lvl7pPr>
      <a:lvl8pPr marL="3200320" eaLnBrk="1" hangingPunct="1">
        <a:defRPr>
          <a:latin typeface="+mn-lt"/>
          <a:ea typeface="+mn-ea"/>
          <a:cs typeface="+mn-cs"/>
        </a:defRPr>
      </a:lvl8pPr>
      <a:lvl9pPr marL="3657509" eaLnBrk="1" hangingPunct="1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3.xml"/><Relationship Id="rId4" Type="http://schemas.openxmlformats.org/officeDocument/2006/relationships/image" Target="../media/image10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4.xml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5.xml"/><Relationship Id="rId4" Type="http://schemas.openxmlformats.org/officeDocument/2006/relationships/image" Target="../media/image8.e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80.xml"/><Relationship Id="rId1" Type="http://schemas.openxmlformats.org/officeDocument/2006/relationships/tags" Target="../tags/tag6.xml"/><Relationship Id="rId4" Type="http://schemas.openxmlformats.org/officeDocument/2006/relationships/image" Target="../media/image10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text 1">
            <a:extLst>
              <a:ext uri="{FF2B5EF4-FFF2-40B4-BE49-F238E27FC236}">
                <a16:creationId xmlns:a16="http://schemas.microsoft.com/office/drawing/2014/main" id="{DE96C13B-A53C-1B06-84D5-0086DDCD282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0514" y="2040622"/>
            <a:ext cx="8075335" cy="1388378"/>
          </a:xfrm>
        </p:spPr>
        <p:txBody>
          <a:bodyPr/>
          <a:lstStyle/>
          <a:p>
            <a:r>
              <a:rPr lang="cs-CZ" sz="3200" dirty="0"/>
              <a:t>MALÉ MODULÁRNÍ REAKTORY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34D70216-F7E7-BB1B-0A51-B99AAFC05471}"/>
              </a:ext>
            </a:extLst>
          </p:cNvPr>
          <p:cNvSpPr txBox="1">
            <a:spLocks/>
          </p:cNvSpPr>
          <p:nvPr/>
        </p:nvSpPr>
        <p:spPr>
          <a:xfrm>
            <a:off x="630514" y="3429000"/>
            <a:ext cx="10297144" cy="2944906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eaLnBrk="1" hangingPunct="1">
              <a:defRPr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189" eaLnBrk="1" hangingPunct="1">
              <a:defRPr>
                <a:latin typeface="+mn-lt"/>
                <a:ea typeface="+mn-ea"/>
                <a:cs typeface="+mn-cs"/>
              </a:defRPr>
            </a:lvl2pPr>
            <a:lvl3pPr marL="914377" eaLnBrk="1" hangingPunct="1">
              <a:defRPr>
                <a:latin typeface="+mn-lt"/>
                <a:ea typeface="+mn-ea"/>
                <a:cs typeface="+mn-cs"/>
              </a:defRPr>
            </a:lvl3pPr>
            <a:lvl4pPr marL="1371566" eaLnBrk="1" hangingPunct="1">
              <a:defRPr>
                <a:latin typeface="+mn-lt"/>
                <a:ea typeface="+mn-ea"/>
                <a:cs typeface="+mn-cs"/>
              </a:defRPr>
            </a:lvl4pPr>
            <a:lvl5pPr marL="1828754" eaLnBrk="1" hangingPunct="1">
              <a:defRPr>
                <a:latin typeface="+mn-lt"/>
                <a:ea typeface="+mn-ea"/>
                <a:cs typeface="+mn-cs"/>
              </a:defRPr>
            </a:lvl5pPr>
            <a:lvl6pPr marL="2285943" eaLnBrk="1" hangingPunct="1">
              <a:defRPr>
                <a:latin typeface="+mn-lt"/>
                <a:ea typeface="+mn-ea"/>
                <a:cs typeface="+mn-cs"/>
              </a:defRPr>
            </a:lvl6pPr>
            <a:lvl7pPr marL="2743131" eaLnBrk="1" hangingPunct="1">
              <a:defRPr>
                <a:latin typeface="+mn-lt"/>
                <a:ea typeface="+mn-ea"/>
                <a:cs typeface="+mn-cs"/>
              </a:defRPr>
            </a:lvl7pPr>
            <a:lvl8pPr marL="3200320" eaLnBrk="1" hangingPunct="1">
              <a:defRPr>
                <a:latin typeface="+mn-lt"/>
                <a:ea typeface="+mn-ea"/>
                <a:cs typeface="+mn-cs"/>
              </a:defRPr>
            </a:lvl8pPr>
            <a:lvl9pPr marL="3657509" eaLnBrk="1" hangingPunct="1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endParaRPr lang="cs-CZ" b="1" dirty="0">
              <a:latin typeface="Arial"/>
              <a:cs typeface="Arial"/>
            </a:endParaRPr>
          </a:p>
          <a:p>
            <a:pPr>
              <a:spcBef>
                <a:spcPts val="600"/>
              </a:spcBef>
            </a:pPr>
            <a:r>
              <a:rPr lang="cs-CZ" b="1" dirty="0">
                <a:latin typeface="Arial"/>
                <a:cs typeface="Arial"/>
              </a:rPr>
              <a:t>Exportní fórum</a:t>
            </a:r>
          </a:p>
          <a:p>
            <a:pPr>
              <a:spcBef>
                <a:spcPts val="600"/>
              </a:spcBef>
            </a:pPr>
            <a:r>
              <a:rPr lang="cs-CZ" dirty="0">
                <a:latin typeface="Arial"/>
                <a:cs typeface="Arial"/>
              </a:rPr>
              <a:t>Tábor</a:t>
            </a:r>
          </a:p>
          <a:p>
            <a:pPr>
              <a:spcBef>
                <a:spcPts val="600"/>
              </a:spcBef>
            </a:pPr>
            <a:r>
              <a:rPr lang="cs-CZ" dirty="0">
                <a:latin typeface="Arial"/>
                <a:cs typeface="Arial"/>
              </a:rPr>
              <a:t>9. dubna 2025</a:t>
            </a:r>
          </a:p>
          <a:p>
            <a:pPr>
              <a:spcBef>
                <a:spcPts val="600"/>
              </a:spcBef>
            </a:pPr>
            <a:endParaRPr lang="cs-CZ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cs-CZ" sz="1600" b="1" dirty="0">
                <a:latin typeface="Arial"/>
                <a:cs typeface="Arial"/>
              </a:rPr>
              <a:t>Petr Pospíšil</a:t>
            </a:r>
          </a:p>
          <a:p>
            <a:pPr>
              <a:spcBef>
                <a:spcPts val="600"/>
              </a:spcBef>
            </a:pPr>
            <a:r>
              <a:rPr lang="cs-CZ" sz="1600" dirty="0">
                <a:latin typeface="Arial"/>
                <a:cs typeface="Arial"/>
              </a:rPr>
              <a:t>Útvar rozvoje SMR</a:t>
            </a:r>
          </a:p>
          <a:p>
            <a:pPr>
              <a:spcBef>
                <a:spcPts val="600"/>
              </a:spcBef>
            </a:pPr>
            <a:r>
              <a:rPr lang="cs-CZ" sz="1600" dirty="0">
                <a:latin typeface="Arial"/>
                <a:cs typeface="Arial"/>
              </a:rPr>
              <a:t>Divize nová energetika</a:t>
            </a:r>
          </a:p>
          <a:p>
            <a:pPr>
              <a:spcBef>
                <a:spcPts val="600"/>
              </a:spcBef>
            </a:pPr>
            <a:r>
              <a:rPr lang="cs-CZ" sz="1600" dirty="0">
                <a:latin typeface="Arial"/>
                <a:cs typeface="Arial"/>
              </a:rPr>
              <a:t>ČEZ, a. 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Graf 2">
            <a:extLst>
              <a:ext uri="{FF2B5EF4-FFF2-40B4-BE49-F238E27FC236}">
                <a16:creationId xmlns:a16="http://schemas.microsoft.com/office/drawing/2014/main" id="{8319F564-4A86-B5E8-E28C-039946736C53}"/>
              </a:ext>
            </a:extLst>
          </p:cNvPr>
          <p:cNvGraphicFramePr/>
          <p:nvPr/>
        </p:nvGraphicFramePr>
        <p:xfrm>
          <a:off x="32629" y="2078446"/>
          <a:ext cx="11865474" cy="34841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3D2814D-B73F-FD44-9A82-065C8DA31E3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cs-CZ" dirty="0"/>
              <a:t>PODPORA JADERNÉ ENERGETIKY V ČR SE DRŽÍ NA VYSOKÉ ÚROVNI</a:t>
            </a:r>
            <a:endParaRPr lang="cs-CZ" dirty="0">
              <a:solidFill>
                <a:schemeClr val="tx1"/>
              </a:solidFill>
            </a:endParaRP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38AAA50F-1038-4D4D-3AAD-0021EDFC7036}"/>
              </a:ext>
            </a:extLst>
          </p:cNvPr>
          <p:cNvSpPr/>
          <p:nvPr/>
        </p:nvSpPr>
        <p:spPr bwMode="auto">
          <a:xfrm>
            <a:off x="5383617" y="3435579"/>
            <a:ext cx="846666" cy="298087"/>
          </a:xfrm>
          <a:prstGeom prst="rect">
            <a:avLst/>
          </a:pr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ukušima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D823D023-5CD0-8A76-8B6B-896EF7F2B2C6}"/>
              </a:ext>
            </a:extLst>
          </p:cNvPr>
          <p:cNvSpPr/>
          <p:nvPr/>
        </p:nvSpPr>
        <p:spPr bwMode="auto">
          <a:xfrm>
            <a:off x="3324311" y="3525419"/>
            <a:ext cx="846666" cy="616367"/>
          </a:xfrm>
          <a:prstGeom prst="rect">
            <a:avLst/>
          </a:pr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puštění II. bloku, protesty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10CC3E73-4EFE-257C-F815-D46B28E4A5C5}"/>
              </a:ext>
            </a:extLst>
          </p:cNvPr>
          <p:cNvSpPr/>
          <p:nvPr/>
        </p:nvSpPr>
        <p:spPr bwMode="auto">
          <a:xfrm>
            <a:off x="1858608" y="3733666"/>
            <a:ext cx="846666" cy="622750"/>
          </a:xfrm>
          <a:prstGeom prst="rect">
            <a:avLst/>
          </a:pr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ostavba ET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testy</a:t>
            </a:r>
          </a:p>
        </p:txBody>
      </p:sp>
      <p:sp>
        <p:nvSpPr>
          <p:cNvPr id="45" name="Obdélník 44">
            <a:extLst>
              <a:ext uri="{FF2B5EF4-FFF2-40B4-BE49-F238E27FC236}">
                <a16:creationId xmlns:a16="http://schemas.microsoft.com/office/drawing/2014/main" id="{64FBE1D1-F6B6-34CE-919E-23BCDB5094AB}"/>
              </a:ext>
            </a:extLst>
          </p:cNvPr>
          <p:cNvSpPr/>
          <p:nvPr/>
        </p:nvSpPr>
        <p:spPr bwMode="auto">
          <a:xfrm>
            <a:off x="1961603" y="2005514"/>
            <a:ext cx="1168574" cy="430871"/>
          </a:xfrm>
          <a:prstGeom prst="rect">
            <a:avLst/>
          </a:pr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zahájení provozu ETE</a:t>
            </a:r>
          </a:p>
        </p:txBody>
      </p:sp>
      <p:sp>
        <p:nvSpPr>
          <p:cNvPr id="46" name="Obdélník 45">
            <a:extLst>
              <a:ext uri="{FF2B5EF4-FFF2-40B4-BE49-F238E27FC236}">
                <a16:creationId xmlns:a16="http://schemas.microsoft.com/office/drawing/2014/main" id="{7B2C18D0-F0C4-2808-24DF-CEA6CCC8C5D1}"/>
              </a:ext>
            </a:extLst>
          </p:cNvPr>
          <p:cNvSpPr/>
          <p:nvPr/>
        </p:nvSpPr>
        <p:spPr bwMode="auto">
          <a:xfrm>
            <a:off x="4492559" y="1662103"/>
            <a:ext cx="1196794" cy="600209"/>
          </a:xfrm>
          <a:prstGeom prst="rect">
            <a:avLst/>
          </a:pr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eřejná zakázka na dostavbu</a:t>
            </a:r>
          </a:p>
        </p:txBody>
      </p:sp>
      <p:sp>
        <p:nvSpPr>
          <p:cNvPr id="47" name="Obdélník 46">
            <a:extLst>
              <a:ext uri="{FF2B5EF4-FFF2-40B4-BE49-F238E27FC236}">
                <a16:creationId xmlns:a16="http://schemas.microsoft.com/office/drawing/2014/main" id="{24CD863C-3552-7AF3-366F-7FBDBDCE65F5}"/>
              </a:ext>
            </a:extLst>
          </p:cNvPr>
          <p:cNvSpPr/>
          <p:nvPr/>
        </p:nvSpPr>
        <p:spPr bwMode="auto">
          <a:xfrm>
            <a:off x="5894020" y="1724062"/>
            <a:ext cx="1103841" cy="632648"/>
          </a:xfrm>
          <a:prstGeom prst="rect">
            <a:avLst/>
          </a:pr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dpora evropské komise</a:t>
            </a:r>
          </a:p>
        </p:txBody>
      </p:sp>
      <p:sp>
        <p:nvSpPr>
          <p:cNvPr id="48" name="Obdélník 47">
            <a:extLst>
              <a:ext uri="{FF2B5EF4-FFF2-40B4-BE49-F238E27FC236}">
                <a16:creationId xmlns:a16="http://schemas.microsoft.com/office/drawing/2014/main" id="{64E0D393-3013-562E-811F-DD28415C75AE}"/>
              </a:ext>
            </a:extLst>
          </p:cNvPr>
          <p:cNvSpPr/>
          <p:nvPr/>
        </p:nvSpPr>
        <p:spPr bwMode="auto">
          <a:xfrm>
            <a:off x="7276891" y="1780753"/>
            <a:ext cx="1279690" cy="780567"/>
          </a:xfrm>
          <a:prstGeom prst="rect">
            <a:avLst/>
          </a:pr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ostavba JE se stává politickým a mediálním  tématem </a:t>
            </a:r>
          </a:p>
        </p:txBody>
      </p:sp>
      <p:sp>
        <p:nvSpPr>
          <p:cNvPr id="49" name="Obdélník 48">
            <a:extLst>
              <a:ext uri="{FF2B5EF4-FFF2-40B4-BE49-F238E27FC236}">
                <a16:creationId xmlns:a16="http://schemas.microsoft.com/office/drawing/2014/main" id="{BC5EF149-3593-C2DD-0089-3342329122F3}"/>
              </a:ext>
            </a:extLst>
          </p:cNvPr>
          <p:cNvSpPr/>
          <p:nvPr/>
        </p:nvSpPr>
        <p:spPr bwMode="auto">
          <a:xfrm>
            <a:off x="6617587" y="3408636"/>
            <a:ext cx="1558650" cy="780567"/>
          </a:xfrm>
          <a:prstGeom prst="rect">
            <a:avLst/>
          </a:pr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zrušení tendru, výročí Černobylu, technické problémy </a:t>
            </a:r>
            <a:b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 EDU</a:t>
            </a:r>
          </a:p>
        </p:txBody>
      </p:sp>
      <p:sp>
        <p:nvSpPr>
          <p:cNvPr id="50" name="Obdélník 49">
            <a:extLst>
              <a:ext uri="{FF2B5EF4-FFF2-40B4-BE49-F238E27FC236}">
                <a16:creationId xmlns:a16="http://schemas.microsoft.com/office/drawing/2014/main" id="{A76A6EB7-CD53-8E90-9F00-3CCA3A1D6170}"/>
              </a:ext>
            </a:extLst>
          </p:cNvPr>
          <p:cNvSpPr/>
          <p:nvPr/>
        </p:nvSpPr>
        <p:spPr bwMode="auto">
          <a:xfrm>
            <a:off x="8243489" y="3406508"/>
            <a:ext cx="946801" cy="713090"/>
          </a:xfrm>
          <a:prstGeom prst="rect">
            <a:avLst/>
          </a:pr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BO vysílá seriál „Černobyl“</a:t>
            </a:r>
          </a:p>
        </p:txBody>
      </p:sp>
      <p:sp>
        <p:nvSpPr>
          <p:cNvPr id="51" name="Obdélník 50">
            <a:extLst>
              <a:ext uri="{FF2B5EF4-FFF2-40B4-BE49-F238E27FC236}">
                <a16:creationId xmlns:a16="http://schemas.microsoft.com/office/drawing/2014/main" id="{C0BA69F4-8546-FA79-7B4B-61B7879A43FC}"/>
              </a:ext>
            </a:extLst>
          </p:cNvPr>
          <p:cNvSpPr/>
          <p:nvPr/>
        </p:nvSpPr>
        <p:spPr bwMode="auto">
          <a:xfrm>
            <a:off x="8657594" y="1768702"/>
            <a:ext cx="1036432" cy="713090"/>
          </a:xfrm>
          <a:prstGeom prst="rect">
            <a:avLst/>
          </a:pr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litici podporují dostavbu JE</a:t>
            </a:r>
          </a:p>
        </p:txBody>
      </p:sp>
      <p:sp>
        <p:nvSpPr>
          <p:cNvPr id="52" name="Obdélník 51">
            <a:extLst>
              <a:ext uri="{FF2B5EF4-FFF2-40B4-BE49-F238E27FC236}">
                <a16:creationId xmlns:a16="http://schemas.microsoft.com/office/drawing/2014/main" id="{9DBF3C6F-8BDF-7DDD-483A-6260EA0F9E67}"/>
              </a:ext>
            </a:extLst>
          </p:cNvPr>
          <p:cNvSpPr/>
          <p:nvPr/>
        </p:nvSpPr>
        <p:spPr bwMode="auto">
          <a:xfrm>
            <a:off x="9272140" y="3406507"/>
            <a:ext cx="1124494" cy="1115579"/>
          </a:xfrm>
          <a:prstGeom prst="rect">
            <a:avLst/>
          </a:pr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omunikaci dominuje  Covid -19, kauza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rbětice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3" name="Text Box 11">
            <a:extLst>
              <a:ext uri="{FF2B5EF4-FFF2-40B4-BE49-F238E27FC236}">
                <a16:creationId xmlns:a16="http://schemas.microsoft.com/office/drawing/2014/main" id="{EFD11544-A51E-EBFD-6181-6274D28930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875" y="4522087"/>
            <a:ext cx="318135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ts val="2300"/>
              </a:lnSpc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ts val="2300"/>
              </a:lnSpc>
              <a:buClr>
                <a:srgbClr val="F24F00"/>
              </a:buClr>
              <a:buSzPct val="12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ts val="2300"/>
              </a:lnSpc>
              <a:buClr>
                <a:srgbClr val="C8C8C8"/>
              </a:buClr>
              <a:buSzPct val="12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ts val="2300"/>
              </a:lnSpc>
              <a:buSzPct val="89000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ts val="2300"/>
              </a:lnSpc>
              <a:buSzPct val="75000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ts val="2300"/>
              </a:lnSpc>
              <a:spcBef>
                <a:spcPct val="0"/>
              </a:spcBef>
              <a:spcAft>
                <a:spcPct val="0"/>
              </a:spcAft>
              <a:buSzPct val="75000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ts val="2300"/>
              </a:lnSpc>
              <a:spcBef>
                <a:spcPct val="0"/>
              </a:spcBef>
              <a:spcAft>
                <a:spcPct val="0"/>
              </a:spcAft>
              <a:buSzPct val="75000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ts val="2300"/>
              </a:lnSpc>
              <a:spcBef>
                <a:spcPct val="0"/>
              </a:spcBef>
              <a:spcAft>
                <a:spcPct val="0"/>
              </a:spcAft>
              <a:buSzPct val="75000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ts val="2300"/>
              </a:lnSpc>
              <a:spcBef>
                <a:spcPct val="0"/>
              </a:spcBef>
              <a:spcAft>
                <a:spcPct val="0"/>
              </a:spcAft>
              <a:buSzPct val="75000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cs-CZ" sz="13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*</a:t>
            </a:r>
            <a:r>
              <a:rPr kumimoji="0" lang="cs-CZ" altLang="cs-CZ" sz="13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zn.: Nerealizováno. </a:t>
            </a:r>
          </a:p>
        </p:txBody>
      </p:sp>
      <p:sp>
        <p:nvSpPr>
          <p:cNvPr id="54" name="Obdélník 53">
            <a:extLst>
              <a:ext uri="{FF2B5EF4-FFF2-40B4-BE49-F238E27FC236}">
                <a16:creationId xmlns:a16="http://schemas.microsoft.com/office/drawing/2014/main" id="{9F975D67-9E51-DB3F-6982-644BD85174DD}"/>
              </a:ext>
            </a:extLst>
          </p:cNvPr>
          <p:cNvSpPr/>
          <p:nvPr/>
        </p:nvSpPr>
        <p:spPr bwMode="auto">
          <a:xfrm>
            <a:off x="9795040" y="1781415"/>
            <a:ext cx="1270750" cy="604945"/>
          </a:xfrm>
          <a:prstGeom prst="rect">
            <a:avLst/>
          </a:pr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ůst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cen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le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kumimoji="0" lang="cs-CZ" sz="1200" b="0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onflikt na UA</a:t>
            </a:r>
          </a:p>
        </p:txBody>
      </p:sp>
      <p:sp>
        <p:nvSpPr>
          <p:cNvPr id="70" name="Obdélník 69">
            <a:extLst>
              <a:ext uri="{FF2B5EF4-FFF2-40B4-BE49-F238E27FC236}">
                <a16:creationId xmlns:a16="http://schemas.microsoft.com/office/drawing/2014/main" id="{EE06177F-C99F-DA45-8456-87DFC3741701}"/>
              </a:ext>
            </a:extLst>
          </p:cNvPr>
          <p:cNvSpPr/>
          <p:nvPr/>
        </p:nvSpPr>
        <p:spPr bwMode="auto">
          <a:xfrm>
            <a:off x="10622847" y="2918539"/>
            <a:ext cx="1041695" cy="860977"/>
          </a:xfrm>
          <a:prstGeom prst="rect">
            <a:avLst/>
          </a:pr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ímaná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stabilizace trhu s energiemi.</a:t>
            </a: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0518EF10-C73F-12EA-47BA-2319E0BCE15A}"/>
              </a:ext>
            </a:extLst>
          </p:cNvPr>
          <p:cNvSpPr/>
          <p:nvPr/>
        </p:nvSpPr>
        <p:spPr bwMode="auto">
          <a:xfrm>
            <a:off x="11234051" y="1760101"/>
            <a:ext cx="664051" cy="604945"/>
          </a:xfrm>
          <a:prstGeom prst="rect">
            <a:avLst/>
          </a:pr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nder EDU 5</a:t>
            </a:r>
            <a:endParaRPr kumimoji="0" lang="cs-CZ" sz="1200" b="0" i="0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98068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282EED2-6499-4D23-90B5-6C99C32C29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282EED2-6499-4D23-90B5-6C99C32C29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385BF9E6-AE98-450C-BDD1-524E33C6C7B5}"/>
              </a:ext>
            </a:extLst>
          </p:cNvPr>
          <p:cNvSpPr txBox="1">
            <a:spLocks/>
          </p:cNvSpPr>
          <p:nvPr/>
        </p:nvSpPr>
        <p:spPr>
          <a:xfrm>
            <a:off x="335360" y="332656"/>
            <a:ext cx="9308306" cy="954107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400" b="0" i="0" u="none" strike="noStrike" kern="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TextovéPole 6">
            <a:extLst>
              <a:ext uri="{FF2B5EF4-FFF2-40B4-BE49-F238E27FC236}">
                <a16:creationId xmlns:a16="http://schemas.microsoft.com/office/drawing/2014/main" id="{FBF7A155-6892-4717-6A87-841DA5700158}"/>
              </a:ext>
            </a:extLst>
          </p:cNvPr>
          <p:cNvSpPr txBox="1"/>
          <p:nvPr/>
        </p:nvSpPr>
        <p:spPr>
          <a:xfrm>
            <a:off x="606940" y="1770854"/>
            <a:ext cx="10978119" cy="408573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Tx/>
              <a:buNone/>
              <a:tabLst/>
              <a:defRPr/>
            </a:pPr>
            <a:r>
              <a:rPr kumimoji="0" lang="cs-CZ" b="1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Cíle Programu SMR v ČR: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b="0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ybudovat 2 SMR, jeden v lokalitě </a:t>
            </a:r>
            <a:r>
              <a:rPr lang="cs-CZ" dirty="0">
                <a:solidFill>
                  <a:srgbClr val="363738"/>
                </a:solidFill>
                <a:latin typeface="Arial"/>
              </a:rPr>
              <a:t>elektrárny </a:t>
            </a:r>
            <a:r>
              <a:rPr lang="cs-CZ" b="1" dirty="0">
                <a:solidFill>
                  <a:srgbClr val="363738"/>
                </a:solidFill>
                <a:latin typeface="Arial"/>
              </a:rPr>
              <a:t>Temelín</a:t>
            </a:r>
            <a:r>
              <a:rPr kumimoji="0" lang="cs-CZ" b="0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o roku </a:t>
            </a:r>
            <a:r>
              <a:rPr kumimoji="0" lang="cs-CZ" b="1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34</a:t>
            </a:r>
            <a:r>
              <a:rPr kumimoji="0" lang="cs-CZ" b="0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 druhý v nejaderné lokalitě elektrárny </a:t>
            </a:r>
            <a:r>
              <a:rPr kumimoji="0" lang="cs-CZ" b="1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ušimice</a:t>
            </a:r>
            <a:r>
              <a:rPr kumimoji="0" lang="cs-CZ" b="0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o roku </a:t>
            </a:r>
            <a:r>
              <a:rPr kumimoji="0" lang="cs-CZ" b="1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38</a:t>
            </a:r>
            <a:r>
              <a:rPr kumimoji="0" lang="cs-CZ" b="0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b="0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ybudovat </a:t>
            </a:r>
            <a:r>
              <a:rPr kumimoji="0" lang="cs-CZ" b="1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 000 </a:t>
            </a:r>
            <a:r>
              <a:rPr kumimoji="0" lang="cs-CZ" b="1" i="0" u="none" strike="noStrike" kern="1200" cap="none" spc="0" normalizeH="0" baseline="0" noProof="0" dirty="0" err="1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We</a:t>
            </a:r>
            <a:r>
              <a:rPr kumimoji="0" lang="cs-CZ" b="1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cs-CZ" b="0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 SMR v ČR do roku 2050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Tx/>
              <a:buNone/>
              <a:tabLst/>
              <a:defRPr/>
            </a:pPr>
            <a:endParaRPr kumimoji="0" lang="cs-CZ" b="0" i="0" u="none" strike="noStrike" kern="1200" cap="none" spc="0" normalizeH="0" baseline="0" noProof="0" dirty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Tx/>
              <a:buNone/>
              <a:tabLst/>
              <a:defRPr/>
            </a:pPr>
            <a:endParaRPr kumimoji="0" lang="cs-CZ" b="0" i="0" u="none" strike="noStrike" kern="1200" cap="none" spc="0" normalizeH="0" baseline="0" noProof="0" dirty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Tx/>
              <a:buNone/>
              <a:tabLst/>
              <a:defRPr/>
            </a:pPr>
            <a:r>
              <a:rPr kumimoji="0" lang="cs-CZ" b="1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. Cíle Programu SMR v oblasti globální příležitosti:</a:t>
            </a:r>
            <a:endParaRPr kumimoji="0" lang="cs-CZ" b="1" i="0" u="none" strike="noStrike" kern="1200" cap="none" spc="0" normalizeH="0" baseline="0" noProof="0" dirty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b="0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ybrat konkurenceschopnou a v čase dostupnou technologii SMR. 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b="0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yjednat strategickou globální obchodní spolupráci s technologickým partnerem za nejlepších možných podmínek.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b="0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apojit dodavatelský řetězec SKČ/ČR do globálního pokrytí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Tx/>
              <a:buNone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591EC784-5413-FBF4-25CF-4D9E53F372DD}"/>
              </a:ext>
            </a:extLst>
          </p:cNvPr>
          <p:cNvSpPr txBox="1">
            <a:spLocks/>
          </p:cNvSpPr>
          <p:nvPr/>
        </p:nvSpPr>
        <p:spPr>
          <a:xfrm>
            <a:off x="550862" y="463934"/>
            <a:ext cx="10334851" cy="954107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189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377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566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754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943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131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320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509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LAVNÍ CÍLE PROGRAMU SMR ČEZ</a:t>
            </a:r>
          </a:p>
        </p:txBody>
      </p:sp>
    </p:spTree>
    <p:extLst>
      <p:ext uri="{BB962C8B-B14F-4D97-AF65-F5344CB8AC3E}">
        <p14:creationId xmlns:p14="http://schemas.microsoft.com/office/powerpoint/2010/main" val="19986435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8C77CFAE-22F5-4A35-90A3-DB3847166698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/>
          <a:lstStyle>
            <a:lvl1pPr marL="0" eaLnBrk="1" hangingPunct="1">
              <a:defRPr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eaLnBrk="1" hangingPunct="1">
              <a:defRPr>
                <a:latin typeface="+mn-lt"/>
                <a:ea typeface="+mn-ea"/>
                <a:cs typeface="+mn-cs"/>
              </a:defRPr>
            </a:lvl2pPr>
            <a:lvl3pPr marL="914400" eaLnBrk="1" hangingPunct="1">
              <a:defRPr>
                <a:latin typeface="+mn-lt"/>
                <a:ea typeface="+mn-ea"/>
                <a:cs typeface="+mn-cs"/>
              </a:defRPr>
            </a:lvl3pPr>
            <a:lvl4pPr marL="1371600" eaLnBrk="1" hangingPunct="1">
              <a:defRPr>
                <a:latin typeface="+mn-lt"/>
                <a:ea typeface="+mn-ea"/>
                <a:cs typeface="+mn-cs"/>
              </a:defRPr>
            </a:lvl4pPr>
            <a:lvl5pPr marL="1828800" eaLnBrk="1" hangingPunct="1">
              <a:defRPr>
                <a:latin typeface="+mn-lt"/>
                <a:ea typeface="+mn-ea"/>
                <a:cs typeface="+mn-cs"/>
              </a:defRPr>
            </a:lvl5pPr>
            <a:lvl6pPr marL="2286000" eaLnBrk="1" hangingPunct="1">
              <a:defRPr>
                <a:latin typeface="+mn-lt"/>
                <a:ea typeface="+mn-ea"/>
                <a:cs typeface="+mn-cs"/>
              </a:defRPr>
            </a:lvl6pPr>
            <a:lvl7pPr marL="2743200" eaLnBrk="1" hangingPunct="1">
              <a:defRPr>
                <a:latin typeface="+mn-lt"/>
                <a:ea typeface="+mn-ea"/>
                <a:cs typeface="+mn-cs"/>
              </a:defRPr>
            </a:lvl7pPr>
            <a:lvl8pPr marL="3200400" eaLnBrk="1" hangingPunct="1">
              <a:defRPr>
                <a:latin typeface="+mn-lt"/>
                <a:ea typeface="+mn-ea"/>
                <a:cs typeface="+mn-cs"/>
              </a:defRPr>
            </a:lvl8pPr>
            <a:lvl9pPr marL="3657600" eaLnBrk="1" hangingPunct="1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Obdélník: se zakulacenými rohy 21">
            <a:extLst>
              <a:ext uri="{FF2B5EF4-FFF2-40B4-BE49-F238E27FC236}">
                <a16:creationId xmlns:a16="http://schemas.microsoft.com/office/drawing/2014/main" id="{FF9D8452-E584-3F35-4351-1E00DB12E2C5}"/>
              </a:ext>
            </a:extLst>
          </p:cNvPr>
          <p:cNvSpPr/>
          <p:nvPr/>
        </p:nvSpPr>
        <p:spPr>
          <a:xfrm>
            <a:off x="5717349" y="1106991"/>
            <a:ext cx="6393193" cy="5316282"/>
          </a:xfrm>
          <a:prstGeom prst="round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C752"/>
              </a:buClr>
              <a:buSzTx/>
              <a:buFontTx/>
              <a:buNone/>
              <a:tabLst/>
              <a:defRPr/>
            </a:pPr>
            <a:r>
              <a:rPr kumimoji="0" lang="cs-CZ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Jaderné lokality (SMR)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Temelí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C752"/>
              </a:buClr>
              <a:buSzTx/>
              <a:buFontTx/>
              <a:buNone/>
              <a:tabLst/>
              <a:defRPr/>
            </a:pPr>
            <a:endParaRPr kumimoji="0" lang="cs-CZ" sz="16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Nejaderné lokality:           </a:t>
            </a:r>
            <a:r>
              <a:rPr kumimoji="0" lang="cs-CZ" sz="1600" b="0" i="1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časné jaderné lokal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Tušimice	          </a:t>
            </a:r>
            <a:r>
              <a:rPr kumimoji="0" lang="cs-CZ" sz="1600" b="0" i="1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Temelín a Dukovany)</a:t>
            </a:r>
            <a:endParaRPr kumimoji="0" lang="cs-CZ" sz="1600" b="1" i="1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Dětmarovice</a:t>
            </a:r>
            <a:endParaRPr kumimoji="0" lang="cs-CZ" sz="16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Vývojový diagram: spojnice 20">
            <a:extLst>
              <a:ext uri="{FF2B5EF4-FFF2-40B4-BE49-F238E27FC236}">
                <a16:creationId xmlns:a16="http://schemas.microsoft.com/office/drawing/2014/main" id="{9887C285-EA28-C110-4B34-EB653DB6B852}"/>
              </a:ext>
            </a:extLst>
          </p:cNvPr>
          <p:cNvSpPr/>
          <p:nvPr/>
        </p:nvSpPr>
        <p:spPr>
          <a:xfrm>
            <a:off x="8269973" y="2398671"/>
            <a:ext cx="196948" cy="182880"/>
          </a:xfrm>
          <a:prstGeom prst="flowChartConnector">
            <a:avLst/>
          </a:prstGeom>
          <a:solidFill>
            <a:srgbClr val="F47446"/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Vývojový diagram: spojnice 22">
            <a:extLst>
              <a:ext uri="{FF2B5EF4-FFF2-40B4-BE49-F238E27FC236}">
                <a16:creationId xmlns:a16="http://schemas.microsoft.com/office/drawing/2014/main" id="{63EEF4C7-C70D-8CF3-0D22-1C66EF5DB05C}"/>
              </a:ext>
            </a:extLst>
          </p:cNvPr>
          <p:cNvSpPr/>
          <p:nvPr/>
        </p:nvSpPr>
        <p:spPr>
          <a:xfrm>
            <a:off x="5975383" y="2396801"/>
            <a:ext cx="196948" cy="182880"/>
          </a:xfrm>
          <a:prstGeom prst="flowChartConnector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Obrázek 4" descr="Obsah obrázku mapa, text, atlas, diagram&#10;&#10;Popis byl vytvořen automaticky">
            <a:extLst>
              <a:ext uri="{FF2B5EF4-FFF2-40B4-BE49-F238E27FC236}">
                <a16:creationId xmlns:a16="http://schemas.microsoft.com/office/drawing/2014/main" id="{7B7D9439-1D67-0ABB-2AC5-337A825E008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24149" y="3433897"/>
            <a:ext cx="4955940" cy="2857180"/>
          </a:xfrm>
          <a:prstGeom prst="rect">
            <a:avLst/>
          </a:prstGeom>
        </p:spPr>
      </p:pic>
      <p:sp>
        <p:nvSpPr>
          <p:cNvPr id="6" name="Vývojový diagram: spojnice 5">
            <a:extLst>
              <a:ext uri="{FF2B5EF4-FFF2-40B4-BE49-F238E27FC236}">
                <a16:creationId xmlns:a16="http://schemas.microsoft.com/office/drawing/2014/main" id="{B3604E78-F649-8831-2333-882EBE379B73}"/>
              </a:ext>
            </a:extLst>
          </p:cNvPr>
          <p:cNvSpPr/>
          <p:nvPr/>
        </p:nvSpPr>
        <p:spPr>
          <a:xfrm>
            <a:off x="5978037" y="1656262"/>
            <a:ext cx="196948" cy="182880"/>
          </a:xfrm>
          <a:prstGeom prst="flowChartConnector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72AC250-6DD1-A3EB-5965-0EA43CE60B65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5285433" y="1304328"/>
            <a:ext cx="6224094" cy="5118945"/>
          </a:xfrm>
          <a:prstGeom prst="rect">
            <a:avLst/>
          </a:prstGeom>
          <a:noFill/>
          <a:ln w="9525">
            <a:solidFill>
              <a:srgbClr val="B3B3B3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algn="l" defTabSz="913616" eaLnBrk="1" hangingPunct="1">
              <a:spcBef>
                <a:spcPct val="0"/>
              </a:spcBef>
              <a:buClr>
                <a:schemeClr val="tx2"/>
              </a:buClr>
              <a:defRPr lang="en-US" sz="1632" baseline="0" noProof="0" smtClean="0">
                <a:cs typeface="Arial" panose="020B0604020202020204" pitchFamily="34" charset="0"/>
              </a:defRPr>
            </a:lvl1pPr>
            <a:lvl2pPr marL="181428" lvl="1" indent="-179808" algn="l" defTabSz="913616" eaLnBrk="1" hangingPunct="1">
              <a:spcBef>
                <a:spcPct val="0"/>
              </a:spcBef>
              <a:buClr>
                <a:srgbClr val="F24F00"/>
              </a:buClr>
              <a:buSzPct val="125000"/>
              <a:buFont typeface="Arial" pitchFamily="34" charset="0"/>
              <a:buChar char="▪"/>
              <a:defRPr lang="en-US" sz="1632" baseline="0" noProof="0" smtClean="0">
                <a:cs typeface="Arial" panose="020B0604020202020204" pitchFamily="34" charset="0"/>
              </a:defRPr>
            </a:lvl2pPr>
            <a:lvl3pPr marL="369334" lvl="2" indent="-187908" algn="l" defTabSz="913616" eaLnBrk="1" hangingPunct="1">
              <a:spcBef>
                <a:spcPct val="0"/>
              </a:spcBef>
              <a:buClr>
                <a:schemeClr val="accent4"/>
              </a:buClr>
              <a:buSzPct val="120000"/>
              <a:buFont typeface="Arial" pitchFamily="34" charset="0"/>
              <a:buChar char="–"/>
              <a:defRPr lang="en-US" sz="1632" baseline="0" noProof="0" smtClean="0">
                <a:cs typeface="Arial" panose="020B0604020202020204" pitchFamily="34" charset="0"/>
              </a:defRPr>
            </a:lvl3pPr>
            <a:lvl4pPr marL="550762" lvl="3" indent="-181428" algn="l" defTabSz="913616" eaLnBrk="1" hangingPunct="1">
              <a:spcBef>
                <a:spcPct val="0"/>
              </a:spcBef>
              <a:buClr>
                <a:schemeClr val="accent4"/>
              </a:buClr>
              <a:buSzPct val="120000"/>
              <a:buFont typeface="Arial" pitchFamily="34" charset="0"/>
              <a:buChar char="▫"/>
              <a:defRPr lang="en-US" sz="1632" baseline="0" noProof="0" smtClean="0">
                <a:cs typeface="Arial" panose="020B0604020202020204" pitchFamily="34" charset="0"/>
              </a:defRPr>
            </a:lvl4pPr>
            <a:lvl5pPr marL="732191" lvl="4" indent="-181428" algn="l" defTabSz="913616" eaLnBrk="1" hangingPunct="1">
              <a:spcBef>
                <a:spcPct val="0"/>
              </a:spcBef>
              <a:buClr>
                <a:schemeClr val="accent4"/>
              </a:buClr>
              <a:buSzPct val="89000"/>
              <a:buFont typeface="Arial" charset="0"/>
              <a:buChar char="-"/>
              <a:defRPr lang="cs-CZ" sz="1632" baseline="0" noProof="0" dirty="0" smtClean="0">
                <a:cs typeface="Arial" panose="020B0604020202020204" pitchFamily="34" charset="0"/>
              </a:defRPr>
            </a:lvl5pPr>
            <a:lvl6pPr marL="765107" indent="-132831" defTabSz="91361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6pPr>
            <a:lvl7pPr marL="765107" indent="-132831" defTabSz="91361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7pPr>
            <a:lvl8pPr marL="765107" indent="-132831" defTabSz="91361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8pPr>
            <a:lvl9pPr marL="765107" indent="-132831" defTabSz="91361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latin typeface="+mn-lt"/>
              </a:defRPr>
            </a:lvl9pPr>
          </a:lstStyle>
          <a:p>
            <a:pPr marL="108000" marR="0" lvl="0" indent="0" algn="l" defTabSz="91361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TextovéPole 14">
            <a:extLst>
              <a:ext uri="{FF2B5EF4-FFF2-40B4-BE49-F238E27FC236}">
                <a16:creationId xmlns:a16="http://schemas.microsoft.com/office/drawing/2014/main" id="{0567C328-575A-5F7C-8EF4-0202D0544612}"/>
              </a:ext>
            </a:extLst>
          </p:cNvPr>
          <p:cNvSpPr txBox="1"/>
          <p:nvPr/>
        </p:nvSpPr>
        <p:spPr>
          <a:xfrm>
            <a:off x="516593" y="2063307"/>
            <a:ext cx="4316300" cy="36009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B05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 Program SMR ČEZ byly vybrány (kromě stávající jaderné lokality Temelín) lokality stávajících uhelných elektráren Tušimice a Dětmarovic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B05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kality stávajících uhelných elektráren Tušimice a Dětmarovice byly vybrány pro budoucí pokrytí potřeb i po odstavení zmíněných uhelných elektráren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CB887F0F-92EF-66D4-9DBF-4D32DA94D992}"/>
              </a:ext>
            </a:extLst>
          </p:cNvPr>
          <p:cNvSpPr txBox="1">
            <a:spLocks/>
          </p:cNvSpPr>
          <p:nvPr/>
        </p:nvSpPr>
        <p:spPr>
          <a:xfrm>
            <a:off x="549923" y="350221"/>
            <a:ext cx="10334851" cy="954107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189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377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566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754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943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131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320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509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0" cap="none" spc="0" normalizeH="0" baseline="0" noProof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VAŽOVANÉ LOKALITY PRO UMÍSTĚNÍ SMR V ČR</a:t>
            </a:r>
          </a:p>
        </p:txBody>
      </p:sp>
    </p:spTree>
    <p:extLst>
      <p:ext uri="{BB962C8B-B14F-4D97-AF65-F5344CB8AC3E}">
        <p14:creationId xmlns:p14="http://schemas.microsoft.com/office/powerpoint/2010/main" val="10428458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A7E5B3F-FE1F-489C-A125-8104AFD578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6" imgH="396" progId="TCLayout.ActiveDocument.1">
                  <p:embed/>
                </p:oleObj>
              </mc:Choice>
              <mc:Fallback>
                <p:oleObj name="think-cell Slide" r:id="rId3" imgW="396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A7E5B3F-FE1F-489C-A125-8104AFD578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ovéPole 6">
            <a:extLst>
              <a:ext uri="{FF2B5EF4-FFF2-40B4-BE49-F238E27FC236}">
                <a16:creationId xmlns:a16="http://schemas.microsoft.com/office/drawing/2014/main" id="{18329FD0-4DE1-93CE-937D-E723F5062E25}"/>
              </a:ext>
            </a:extLst>
          </p:cNvPr>
          <p:cNvSpPr txBox="1"/>
          <p:nvPr/>
        </p:nvSpPr>
        <p:spPr>
          <a:xfrm>
            <a:off x="1554678" y="6446116"/>
            <a:ext cx="9535885" cy="2154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Tx/>
              <a:buNone/>
              <a:tabLst>
                <a:tab pos="182563" algn="l"/>
                <a:tab pos="809625" algn="l"/>
              </a:tabLst>
              <a:defRPr/>
            </a:pP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	</a:t>
            </a:r>
            <a:r>
              <a:rPr kumimoji="0" lang="en-US" sz="800" b="0" i="1" u="none" strike="noStrike" kern="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quest for information</a:t>
            </a:r>
          </a:p>
        </p:txBody>
      </p:sp>
      <p:cxnSp>
        <p:nvCxnSpPr>
          <p:cNvPr id="33" name="Straight Arrow Connector 3">
            <a:extLst>
              <a:ext uri="{FF2B5EF4-FFF2-40B4-BE49-F238E27FC236}">
                <a16:creationId xmlns:a16="http://schemas.microsoft.com/office/drawing/2014/main" id="{AFCE45E9-468F-BE35-E411-6173D7DA9A9B}"/>
              </a:ext>
            </a:extLst>
          </p:cNvPr>
          <p:cNvCxnSpPr>
            <a:cxnSpLocks/>
          </p:cNvCxnSpPr>
          <p:nvPr/>
        </p:nvCxnSpPr>
        <p:spPr>
          <a:xfrm>
            <a:off x="905124" y="3040061"/>
            <a:ext cx="10898100" cy="0"/>
          </a:xfrm>
          <a:prstGeom prst="straightConnector1">
            <a:avLst/>
          </a:prstGeom>
          <a:ln w="12700" cap="flat">
            <a:solidFill>
              <a:schemeClr val="tx1">
                <a:lumMod val="60000"/>
                <a:lumOff val="40000"/>
              </a:schemeClr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Oval 4">
            <a:extLst>
              <a:ext uri="{FF2B5EF4-FFF2-40B4-BE49-F238E27FC236}">
                <a16:creationId xmlns:a16="http://schemas.microsoft.com/office/drawing/2014/main" id="{D875FB53-D0EE-76D3-BA92-3E4028F83407}"/>
              </a:ext>
            </a:extLst>
          </p:cNvPr>
          <p:cNvSpPr/>
          <p:nvPr/>
        </p:nvSpPr>
        <p:spPr>
          <a:xfrm>
            <a:off x="2285103" y="2915524"/>
            <a:ext cx="235364" cy="235360"/>
          </a:xfrm>
          <a:prstGeom prst="ellipse">
            <a:avLst/>
          </a:prstGeom>
          <a:solidFill>
            <a:srgbClr val="BFBFBF"/>
          </a:solidFill>
          <a:ln w="28575" cap="sq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TextBox 5">
            <a:extLst>
              <a:ext uri="{FF2B5EF4-FFF2-40B4-BE49-F238E27FC236}">
                <a16:creationId xmlns:a16="http://schemas.microsoft.com/office/drawing/2014/main" id="{5D00FF1A-6804-7F82-A906-754212C4C51C}"/>
              </a:ext>
            </a:extLst>
          </p:cNvPr>
          <p:cNvSpPr txBox="1">
            <a:spLocks/>
          </p:cNvSpPr>
          <p:nvPr/>
        </p:nvSpPr>
        <p:spPr>
          <a:xfrm>
            <a:off x="2252102" y="2583122"/>
            <a:ext cx="314189" cy="1692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C752"/>
              </a:buClr>
              <a:buSzPct val="110000"/>
              <a:buFont typeface="Wingdings" panose="05000000000000000000" pitchFamily="2" charset="2"/>
              <a:buChar char="§"/>
              <a:defRPr lang="en-US" sz="1600" dirty="0"/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600" dirty="0"/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1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Oval 15">
            <a:extLst>
              <a:ext uri="{FF2B5EF4-FFF2-40B4-BE49-F238E27FC236}">
                <a16:creationId xmlns:a16="http://schemas.microsoft.com/office/drawing/2014/main" id="{BFD85374-553E-E216-0882-117C6BF9DA3B}"/>
              </a:ext>
            </a:extLst>
          </p:cNvPr>
          <p:cNvSpPr/>
          <p:nvPr/>
        </p:nvSpPr>
        <p:spPr>
          <a:xfrm>
            <a:off x="4237589" y="2915524"/>
            <a:ext cx="235364" cy="235360"/>
          </a:xfrm>
          <a:prstGeom prst="ellipse">
            <a:avLst/>
          </a:prstGeom>
          <a:solidFill>
            <a:srgbClr val="BFBFBF"/>
          </a:solidFill>
          <a:ln w="28575" cap="sq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TextBox 16">
            <a:extLst>
              <a:ext uri="{FF2B5EF4-FFF2-40B4-BE49-F238E27FC236}">
                <a16:creationId xmlns:a16="http://schemas.microsoft.com/office/drawing/2014/main" id="{2B68EF24-1C2C-1258-203F-119686E723D2}"/>
              </a:ext>
            </a:extLst>
          </p:cNvPr>
          <p:cNvSpPr txBox="1">
            <a:spLocks/>
          </p:cNvSpPr>
          <p:nvPr/>
        </p:nvSpPr>
        <p:spPr>
          <a:xfrm>
            <a:off x="4215926" y="2583122"/>
            <a:ext cx="314189" cy="1692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C752"/>
              </a:buClr>
              <a:buSzPct val="110000"/>
              <a:buFont typeface="Wingdings" panose="05000000000000000000" pitchFamily="2" charset="2"/>
              <a:buChar char="§"/>
              <a:defRPr lang="en-US" sz="1600" dirty="0"/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600" dirty="0"/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cs-CZ" sz="1100" b="1" i="0" u="none" strike="noStrike" kern="1200" cap="none" spc="0" normalizeH="0" baseline="0" noProof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4</a:t>
            </a: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Oval 18">
            <a:extLst>
              <a:ext uri="{FF2B5EF4-FFF2-40B4-BE49-F238E27FC236}">
                <a16:creationId xmlns:a16="http://schemas.microsoft.com/office/drawing/2014/main" id="{069C6A25-967E-59D8-F7BA-A24A036BF2C6}"/>
              </a:ext>
            </a:extLst>
          </p:cNvPr>
          <p:cNvSpPr/>
          <p:nvPr/>
        </p:nvSpPr>
        <p:spPr>
          <a:xfrm>
            <a:off x="1399456" y="2915524"/>
            <a:ext cx="235364" cy="235360"/>
          </a:xfrm>
          <a:prstGeom prst="ellipse">
            <a:avLst/>
          </a:prstGeom>
          <a:solidFill>
            <a:schemeClr val="bg1">
              <a:lumMod val="75000"/>
            </a:schemeClr>
          </a:solidFill>
          <a:ln w="28575" cap="sq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Box 19">
            <a:extLst>
              <a:ext uri="{FF2B5EF4-FFF2-40B4-BE49-F238E27FC236}">
                <a16:creationId xmlns:a16="http://schemas.microsoft.com/office/drawing/2014/main" id="{EB50A436-8710-51EA-A149-02BDA7B17803}"/>
              </a:ext>
            </a:extLst>
          </p:cNvPr>
          <p:cNvSpPr txBox="1">
            <a:spLocks/>
          </p:cNvSpPr>
          <p:nvPr/>
        </p:nvSpPr>
        <p:spPr>
          <a:xfrm>
            <a:off x="1368500" y="2583122"/>
            <a:ext cx="314189" cy="1692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C752"/>
              </a:buClr>
              <a:buSzPct val="110000"/>
              <a:buFont typeface="Wingdings" panose="05000000000000000000" pitchFamily="2" charset="2"/>
              <a:buChar char="§"/>
              <a:defRPr lang="en-US" sz="1600" dirty="0"/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600" dirty="0"/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9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TextBox 20">
            <a:extLst>
              <a:ext uri="{FF2B5EF4-FFF2-40B4-BE49-F238E27FC236}">
                <a16:creationId xmlns:a16="http://schemas.microsoft.com/office/drawing/2014/main" id="{C0A6E44D-1B4E-16F0-0D68-771392CB9F96}"/>
              </a:ext>
            </a:extLst>
          </p:cNvPr>
          <p:cNvSpPr txBox="1"/>
          <p:nvPr/>
        </p:nvSpPr>
        <p:spPr>
          <a:xfrm>
            <a:off x="175429" y="3245789"/>
            <a:ext cx="1459391" cy="459867"/>
          </a:xfrm>
          <a:prstGeom prst="rect">
            <a:avLst/>
          </a:prstGeom>
          <a:noFill/>
          <a:ln>
            <a:noFill/>
          </a:ln>
        </p:spPr>
        <p:txBody>
          <a:bodyPr wrap="square" lIns="72000" tIns="72000" rIns="72000" bIns="72000">
            <a:noAutofit/>
          </a:bodyPr>
          <a:lstStyle>
            <a:defPPr>
              <a:defRPr lang="en-CZ"/>
            </a:defPPr>
            <a:lvl1pPr marL="285750" marR="0" lvl="0" indent="-285750" algn="just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Char char="§"/>
              <a:tabLst/>
              <a:defRPr kumimoji="0" sz="1000" i="0" u="none" strike="noStrike" cap="none" spc="0" normalizeH="0" baseline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nitoring trhu –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0 technologií SMR</a:t>
            </a:r>
          </a:p>
        </p:txBody>
      </p:sp>
      <p:cxnSp>
        <p:nvCxnSpPr>
          <p:cNvPr id="50" name="Straight Connector 23">
            <a:extLst>
              <a:ext uri="{FF2B5EF4-FFF2-40B4-BE49-F238E27FC236}">
                <a16:creationId xmlns:a16="http://schemas.microsoft.com/office/drawing/2014/main" id="{B590689C-54EB-72BE-71B6-75EEF8A18873}"/>
              </a:ext>
            </a:extLst>
          </p:cNvPr>
          <p:cNvCxnSpPr>
            <a:cxnSpLocks/>
          </p:cNvCxnSpPr>
          <p:nvPr/>
        </p:nvCxnSpPr>
        <p:spPr>
          <a:xfrm>
            <a:off x="905124" y="2798495"/>
            <a:ext cx="1" cy="397741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24">
            <a:extLst>
              <a:ext uri="{FF2B5EF4-FFF2-40B4-BE49-F238E27FC236}">
                <a16:creationId xmlns:a16="http://schemas.microsoft.com/office/drawing/2014/main" id="{531C3DC5-F77F-092C-6DF5-2D4EF55CD28A}"/>
              </a:ext>
            </a:extLst>
          </p:cNvPr>
          <p:cNvSpPr txBox="1"/>
          <p:nvPr/>
        </p:nvSpPr>
        <p:spPr>
          <a:xfrm>
            <a:off x="1209589" y="4359486"/>
            <a:ext cx="1249782" cy="604509"/>
          </a:xfrm>
          <a:prstGeom prst="rect">
            <a:avLst/>
          </a:prstGeom>
          <a:noFill/>
          <a:ln>
            <a:noFill/>
          </a:ln>
        </p:spPr>
        <p:txBody>
          <a:bodyPr wrap="square" lIns="72000" tIns="72000" rIns="72000" bIns="72000">
            <a:noAutofit/>
          </a:bodyPr>
          <a:lstStyle>
            <a:defPPr>
              <a:defRPr lang="en-CZ"/>
            </a:defPPr>
            <a:lvl1pPr marL="285750" marR="0" lvl="0" indent="-285750" algn="just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Char char="§"/>
              <a:tabLst/>
              <a:defRPr kumimoji="0" sz="1000" i="0" u="none" strike="noStrike" cap="none" spc="0" normalizeH="0" baseline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ředběžná studie proveditelnosti – </a:t>
            </a:r>
            <a:r>
              <a:rPr kumimoji="0" lang="cs-CZ" sz="1100" b="1" i="0" u="none" strike="noStrike" kern="1200" cap="none" spc="0" normalizeH="0" baseline="0" noProof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3 dodavatelů</a:t>
            </a:r>
          </a:p>
        </p:txBody>
      </p:sp>
      <p:cxnSp>
        <p:nvCxnSpPr>
          <p:cNvPr id="54" name="Straight Connector 25">
            <a:extLst>
              <a:ext uri="{FF2B5EF4-FFF2-40B4-BE49-F238E27FC236}">
                <a16:creationId xmlns:a16="http://schemas.microsoft.com/office/drawing/2014/main" id="{A69CD601-C807-21BE-3574-CCC13CBC4BBF}"/>
              </a:ext>
            </a:extLst>
          </p:cNvPr>
          <p:cNvCxnSpPr>
            <a:cxnSpLocks/>
          </p:cNvCxnSpPr>
          <p:nvPr/>
        </p:nvCxnSpPr>
        <p:spPr>
          <a:xfrm flipH="1">
            <a:off x="1834480" y="2798495"/>
            <a:ext cx="8571" cy="1560991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28">
            <a:extLst>
              <a:ext uri="{FF2B5EF4-FFF2-40B4-BE49-F238E27FC236}">
                <a16:creationId xmlns:a16="http://schemas.microsoft.com/office/drawing/2014/main" id="{52489C0F-E4DB-CDB7-B74F-F0722E30AF04}"/>
              </a:ext>
            </a:extLst>
          </p:cNvPr>
          <p:cNvCxnSpPr>
            <a:cxnSpLocks/>
          </p:cNvCxnSpPr>
          <p:nvPr/>
        </p:nvCxnSpPr>
        <p:spPr>
          <a:xfrm>
            <a:off x="2753459" y="2798495"/>
            <a:ext cx="0" cy="397741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29">
            <a:extLst>
              <a:ext uri="{FF2B5EF4-FFF2-40B4-BE49-F238E27FC236}">
                <a16:creationId xmlns:a16="http://schemas.microsoft.com/office/drawing/2014/main" id="{E6DDD35B-A17E-9AC6-1A9A-5E70D61CB03B}"/>
              </a:ext>
            </a:extLst>
          </p:cNvPr>
          <p:cNvSpPr txBox="1"/>
          <p:nvPr/>
        </p:nvSpPr>
        <p:spPr>
          <a:xfrm>
            <a:off x="2023763" y="3245789"/>
            <a:ext cx="1459391" cy="946402"/>
          </a:xfrm>
          <a:prstGeom prst="rect">
            <a:avLst/>
          </a:prstGeom>
          <a:noFill/>
          <a:ln>
            <a:noFill/>
          </a:ln>
        </p:spPr>
        <p:txBody>
          <a:bodyPr wrap="square" lIns="72000" tIns="72000" rIns="72000" bIns="72000">
            <a:noAutofit/>
          </a:bodyPr>
          <a:lstStyle>
            <a:defPPr>
              <a:defRPr lang="en-CZ"/>
            </a:defPPr>
            <a:lvl1pPr marL="285750" marR="0" lvl="0" indent="-285750" algn="just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Char char="§"/>
              <a:tabLst/>
              <a:defRPr kumimoji="0" sz="1000" i="0" u="none" strike="noStrike" cap="none" spc="0" normalizeH="0" baseline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valifikační studie a vládního rozhodnutí o vyřazení čínských a ruských technologií – </a:t>
            </a: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 dodavatelů</a:t>
            </a:r>
          </a:p>
        </p:txBody>
      </p:sp>
      <p:cxnSp>
        <p:nvCxnSpPr>
          <p:cNvPr id="57" name="Straight Connector 35">
            <a:extLst>
              <a:ext uri="{FF2B5EF4-FFF2-40B4-BE49-F238E27FC236}">
                <a16:creationId xmlns:a16="http://schemas.microsoft.com/office/drawing/2014/main" id="{DE093F65-FA2B-C75D-5927-A20F996B59D2}"/>
              </a:ext>
            </a:extLst>
          </p:cNvPr>
          <p:cNvCxnSpPr>
            <a:cxnSpLocks/>
          </p:cNvCxnSpPr>
          <p:nvPr/>
        </p:nvCxnSpPr>
        <p:spPr>
          <a:xfrm>
            <a:off x="5927324" y="2798495"/>
            <a:ext cx="0" cy="397741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40">
            <a:extLst>
              <a:ext uri="{FF2B5EF4-FFF2-40B4-BE49-F238E27FC236}">
                <a16:creationId xmlns:a16="http://schemas.microsoft.com/office/drawing/2014/main" id="{31CD3570-C0D5-F081-7198-33B6B966FAB8}"/>
              </a:ext>
            </a:extLst>
          </p:cNvPr>
          <p:cNvSpPr txBox="1"/>
          <p:nvPr/>
        </p:nvSpPr>
        <p:spPr>
          <a:xfrm>
            <a:off x="5264829" y="3174635"/>
            <a:ext cx="1292774" cy="1087703"/>
          </a:xfrm>
          <a:prstGeom prst="rect">
            <a:avLst/>
          </a:prstGeom>
          <a:noFill/>
          <a:ln>
            <a:noFill/>
          </a:ln>
        </p:spPr>
        <p:txBody>
          <a:bodyPr wrap="square" lIns="72000" tIns="72000" rIns="72000" bIns="72000">
            <a:noAutofit/>
          </a:bodyPr>
          <a:lstStyle>
            <a:defPPr>
              <a:defRPr lang="en-CZ"/>
            </a:defPPr>
            <a:lvl1pPr marL="285750" marR="0" lvl="0" indent="-285750" algn="just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Char char="§"/>
              <a:tabLst/>
              <a:defRPr kumimoji="0" sz="1000" i="0" u="none" strike="noStrike" cap="none" spc="0" normalizeH="0" baseline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úžení seznamu potenciálních dodavatelů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 Vernova, Rolls-Royce SMR, </a:t>
            </a:r>
            <a:r>
              <a:rPr kumimoji="0" lang="cs-CZ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stinghouse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0" name="Straight Connector 41">
            <a:extLst>
              <a:ext uri="{FF2B5EF4-FFF2-40B4-BE49-F238E27FC236}">
                <a16:creationId xmlns:a16="http://schemas.microsoft.com/office/drawing/2014/main" id="{5BB3C531-3408-776F-4B58-0AAE38878895}"/>
              </a:ext>
            </a:extLst>
          </p:cNvPr>
          <p:cNvCxnSpPr>
            <a:cxnSpLocks/>
          </p:cNvCxnSpPr>
          <p:nvPr/>
        </p:nvCxnSpPr>
        <p:spPr>
          <a:xfrm>
            <a:off x="9637917" y="2798495"/>
            <a:ext cx="0" cy="1860304"/>
          </a:xfrm>
          <a:prstGeom prst="line">
            <a:avLst/>
          </a:prstGeom>
          <a:ln w="19050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Oval 47">
            <a:extLst>
              <a:ext uri="{FF2B5EF4-FFF2-40B4-BE49-F238E27FC236}">
                <a16:creationId xmlns:a16="http://schemas.microsoft.com/office/drawing/2014/main" id="{946EA5B1-9481-7849-C0B4-5AC7D8BC8537}"/>
              </a:ext>
            </a:extLst>
          </p:cNvPr>
          <p:cNvSpPr/>
          <p:nvPr/>
        </p:nvSpPr>
        <p:spPr>
          <a:xfrm>
            <a:off x="3270186" y="2915524"/>
            <a:ext cx="235364" cy="235360"/>
          </a:xfrm>
          <a:prstGeom prst="ellipse">
            <a:avLst/>
          </a:prstGeom>
          <a:solidFill>
            <a:srgbClr val="BFBFBF"/>
          </a:solidFill>
          <a:ln w="28575" cap="sq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2" name="TextBox 48">
            <a:extLst>
              <a:ext uri="{FF2B5EF4-FFF2-40B4-BE49-F238E27FC236}">
                <a16:creationId xmlns:a16="http://schemas.microsoft.com/office/drawing/2014/main" id="{D6E3BA4F-60AE-3502-05BB-C7F832A80AB2}"/>
              </a:ext>
            </a:extLst>
          </p:cNvPr>
          <p:cNvSpPr txBox="1">
            <a:spLocks/>
          </p:cNvSpPr>
          <p:nvPr/>
        </p:nvSpPr>
        <p:spPr>
          <a:xfrm>
            <a:off x="3237185" y="2583122"/>
            <a:ext cx="314189" cy="1692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C752"/>
              </a:buClr>
              <a:buSzPct val="110000"/>
              <a:buFont typeface="Wingdings" panose="05000000000000000000" pitchFamily="2" charset="2"/>
              <a:buChar char="§"/>
              <a:defRPr lang="en-US" sz="1600" dirty="0"/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600" dirty="0"/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cs-CZ" sz="1100" b="1" i="0" u="none" strike="noStrike" kern="1200" cap="none" spc="0" normalizeH="0" baseline="0" noProof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2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3" name="Straight Connector 50">
            <a:extLst>
              <a:ext uri="{FF2B5EF4-FFF2-40B4-BE49-F238E27FC236}">
                <a16:creationId xmlns:a16="http://schemas.microsoft.com/office/drawing/2014/main" id="{A9F31285-C6D4-89CE-6F57-62512DF35631}"/>
              </a:ext>
            </a:extLst>
          </p:cNvPr>
          <p:cNvCxnSpPr>
            <a:cxnSpLocks/>
          </p:cNvCxnSpPr>
          <p:nvPr/>
        </p:nvCxnSpPr>
        <p:spPr>
          <a:xfrm>
            <a:off x="3581588" y="2798495"/>
            <a:ext cx="0" cy="1530488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51">
            <a:extLst>
              <a:ext uri="{FF2B5EF4-FFF2-40B4-BE49-F238E27FC236}">
                <a16:creationId xmlns:a16="http://schemas.microsoft.com/office/drawing/2014/main" id="{88F6C6CE-81E3-C10A-D7F4-128FC9FED00F}"/>
              </a:ext>
            </a:extLst>
          </p:cNvPr>
          <p:cNvSpPr txBox="1"/>
          <p:nvPr/>
        </p:nvSpPr>
        <p:spPr>
          <a:xfrm>
            <a:off x="3101911" y="4378536"/>
            <a:ext cx="959354" cy="604509"/>
          </a:xfrm>
          <a:prstGeom prst="rect">
            <a:avLst/>
          </a:prstGeom>
          <a:noFill/>
          <a:ln>
            <a:noFill/>
          </a:ln>
        </p:spPr>
        <p:txBody>
          <a:bodyPr wrap="square" lIns="72000" tIns="72000" rIns="72000" bIns="72000">
            <a:noAutofit/>
          </a:bodyPr>
          <a:lstStyle>
            <a:defPPr>
              <a:defRPr lang="en-CZ"/>
            </a:defPPr>
            <a:lvl1pPr marL="285750" marR="0" lvl="0" indent="-285750" algn="just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Char char="§"/>
              <a:tabLst/>
              <a:defRPr kumimoji="0" sz="1000" i="0" u="none" strike="noStrike" cap="none" spc="0" normalizeH="0" baseline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aslán RFI* na jednotlivé dodavatele</a:t>
            </a:r>
          </a:p>
        </p:txBody>
      </p:sp>
      <p:cxnSp>
        <p:nvCxnSpPr>
          <p:cNvPr id="67" name="Straight Connector 67">
            <a:extLst>
              <a:ext uri="{FF2B5EF4-FFF2-40B4-BE49-F238E27FC236}">
                <a16:creationId xmlns:a16="http://schemas.microsoft.com/office/drawing/2014/main" id="{0E583FC1-C98F-8742-4401-3BD88F2EC66E}"/>
              </a:ext>
            </a:extLst>
          </p:cNvPr>
          <p:cNvCxnSpPr>
            <a:cxnSpLocks/>
          </p:cNvCxnSpPr>
          <p:nvPr/>
        </p:nvCxnSpPr>
        <p:spPr>
          <a:xfrm>
            <a:off x="7372753" y="2798495"/>
            <a:ext cx="0" cy="2121185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68">
            <a:extLst>
              <a:ext uri="{FF2B5EF4-FFF2-40B4-BE49-F238E27FC236}">
                <a16:creationId xmlns:a16="http://schemas.microsoft.com/office/drawing/2014/main" id="{A8CEEABD-6165-0D84-0798-CBE35DB94076}"/>
              </a:ext>
            </a:extLst>
          </p:cNvPr>
          <p:cNvSpPr txBox="1"/>
          <p:nvPr/>
        </p:nvSpPr>
        <p:spPr>
          <a:xfrm>
            <a:off x="6812315" y="4978890"/>
            <a:ext cx="1120875" cy="471716"/>
          </a:xfrm>
          <a:prstGeom prst="rect">
            <a:avLst/>
          </a:prstGeom>
          <a:noFill/>
          <a:ln>
            <a:noFill/>
          </a:ln>
        </p:spPr>
        <p:txBody>
          <a:bodyPr wrap="square" lIns="72000" tIns="72000" rIns="72000" bIns="72000">
            <a:noAutofit/>
          </a:bodyPr>
          <a:lstStyle>
            <a:defPPr>
              <a:defRPr lang="en-CZ"/>
            </a:defPPr>
            <a:lvl1pPr marL="285750" marR="0" lvl="0" indent="-285750" algn="just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Char char="§"/>
              <a:tabLst/>
              <a:defRPr kumimoji="0" sz="1000" i="0" u="none" strike="noStrike" cap="none" spc="0" normalizeH="0" baseline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zpečnostní smlouva </a:t>
            </a:r>
          </a:p>
        </p:txBody>
      </p:sp>
      <p:sp>
        <p:nvSpPr>
          <p:cNvPr id="75" name="TextBox 70">
            <a:extLst>
              <a:ext uri="{FF2B5EF4-FFF2-40B4-BE49-F238E27FC236}">
                <a16:creationId xmlns:a16="http://schemas.microsoft.com/office/drawing/2014/main" id="{6446BB12-B6EB-73A5-C388-7CD94C669E71}"/>
              </a:ext>
            </a:extLst>
          </p:cNvPr>
          <p:cNvSpPr txBox="1"/>
          <p:nvPr/>
        </p:nvSpPr>
        <p:spPr>
          <a:xfrm>
            <a:off x="8975098" y="4653136"/>
            <a:ext cx="1310891" cy="833300"/>
          </a:xfrm>
          <a:prstGeom prst="rect">
            <a:avLst/>
          </a:prstGeom>
          <a:noFill/>
          <a:ln>
            <a:noFill/>
          </a:ln>
        </p:spPr>
        <p:txBody>
          <a:bodyPr wrap="square" lIns="72000" tIns="72000" rIns="72000" bIns="72000">
            <a:noAutofit/>
          </a:bodyPr>
          <a:lstStyle>
            <a:defPPr>
              <a:defRPr lang="en-CZ"/>
            </a:defPPr>
            <a:lvl1pPr marL="285750" marR="0" lvl="0" indent="-285750" algn="just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Char char="§"/>
              <a:tabLst/>
              <a:defRPr kumimoji="0" sz="1000" i="0" u="none" strike="noStrike" cap="none" spc="0" normalizeH="0" baseline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24F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dpis partnerství s Rolls-Royce SMR</a:t>
            </a:r>
          </a:p>
        </p:txBody>
      </p:sp>
      <p:sp>
        <p:nvSpPr>
          <p:cNvPr id="76" name="TextovéPole 6">
            <a:extLst>
              <a:ext uri="{FF2B5EF4-FFF2-40B4-BE49-F238E27FC236}">
                <a16:creationId xmlns:a16="http://schemas.microsoft.com/office/drawing/2014/main" id="{1B05C41D-EC84-A11E-6F09-2AD3F723A25C}"/>
              </a:ext>
            </a:extLst>
          </p:cNvPr>
          <p:cNvSpPr txBox="1"/>
          <p:nvPr/>
        </p:nvSpPr>
        <p:spPr>
          <a:xfrm>
            <a:off x="234732" y="2159715"/>
            <a:ext cx="10855831" cy="333181"/>
          </a:xfrm>
          <a:prstGeom prst="rect">
            <a:avLst/>
          </a:prstGeom>
          <a:noFill/>
          <a:ln>
            <a:noFill/>
          </a:ln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Tx/>
              <a:buNone/>
              <a:tabLst/>
              <a:defRPr/>
            </a:pPr>
            <a:r>
              <a:rPr kumimoji="0" lang="cs-CZ" sz="1300" b="0" i="0" u="sng" strike="noStrike" kern="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rmonogram klíčových historických a budoucích milníků v souvislosti s výběrem partnera pro Program SMR (ilustrativní časová osa):</a:t>
            </a:r>
          </a:p>
        </p:txBody>
      </p:sp>
      <p:sp>
        <p:nvSpPr>
          <p:cNvPr id="79" name="TextBox 22">
            <a:extLst>
              <a:ext uri="{FF2B5EF4-FFF2-40B4-BE49-F238E27FC236}">
                <a16:creationId xmlns:a16="http://schemas.microsoft.com/office/drawing/2014/main" id="{EAE2EF8D-6F84-7D3B-9A09-892A41137E51}"/>
              </a:ext>
            </a:extLst>
          </p:cNvPr>
          <p:cNvSpPr txBox="1">
            <a:spLocks/>
          </p:cNvSpPr>
          <p:nvPr/>
        </p:nvSpPr>
        <p:spPr>
          <a:xfrm>
            <a:off x="9259511" y="2583122"/>
            <a:ext cx="782265" cy="1692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C752"/>
              </a:buClr>
              <a:buSzPct val="110000"/>
              <a:buFont typeface="Wingdings" panose="05000000000000000000" pitchFamily="2" charset="2"/>
              <a:buChar char="§"/>
              <a:defRPr lang="en-US" sz="1600" dirty="0"/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600" dirty="0"/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24F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9. 10. 2024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24F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Box 68">
            <a:extLst>
              <a:ext uri="{FF2B5EF4-FFF2-40B4-BE49-F238E27FC236}">
                <a16:creationId xmlns:a16="http://schemas.microsoft.com/office/drawing/2014/main" id="{5825524C-E4C7-DB24-80C4-B557393FEC93}"/>
              </a:ext>
            </a:extLst>
          </p:cNvPr>
          <p:cNvSpPr txBox="1"/>
          <p:nvPr/>
        </p:nvSpPr>
        <p:spPr>
          <a:xfrm>
            <a:off x="10528914" y="3984909"/>
            <a:ext cx="1201405" cy="1067585"/>
          </a:xfrm>
          <a:prstGeom prst="rect">
            <a:avLst/>
          </a:prstGeom>
          <a:noFill/>
          <a:ln>
            <a:noFill/>
          </a:ln>
        </p:spPr>
        <p:txBody>
          <a:bodyPr wrap="square" lIns="72000" tIns="72000" rIns="72000" bIns="72000">
            <a:noAutofit/>
          </a:bodyPr>
          <a:lstStyle>
            <a:defPPr>
              <a:defRPr lang="en-CZ"/>
            </a:defPPr>
            <a:lvl1pPr marL="285750" marR="0" lvl="0" indent="-285750" algn="just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Char char="§"/>
              <a:tabLst/>
              <a:defRPr kumimoji="0" sz="1000" i="0" u="none" strike="noStrike" cap="none" spc="0" normalizeH="0" baseline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None/>
              <a:tabLst/>
              <a:defRPr/>
            </a:pPr>
            <a:r>
              <a:rPr lang="cs-CZ" sz="1100" b="1" dirty="0">
                <a:solidFill>
                  <a:srgbClr val="F24F00"/>
                </a:solidFill>
                <a:latin typeface="Arial"/>
              </a:rPr>
              <a:t>Získání podílu ČEZ v Rolls-Royce SMR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F24F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7" name="Straight Connector 67">
            <a:extLst>
              <a:ext uri="{FF2B5EF4-FFF2-40B4-BE49-F238E27FC236}">
                <a16:creationId xmlns:a16="http://schemas.microsoft.com/office/drawing/2014/main" id="{D6D0E2F1-39FD-91E2-BEEC-A0CD143267E8}"/>
              </a:ext>
            </a:extLst>
          </p:cNvPr>
          <p:cNvCxnSpPr>
            <a:cxnSpLocks/>
          </p:cNvCxnSpPr>
          <p:nvPr/>
        </p:nvCxnSpPr>
        <p:spPr>
          <a:xfrm>
            <a:off x="8625013" y="2798495"/>
            <a:ext cx="0" cy="724999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68">
            <a:extLst>
              <a:ext uri="{FF2B5EF4-FFF2-40B4-BE49-F238E27FC236}">
                <a16:creationId xmlns:a16="http://schemas.microsoft.com/office/drawing/2014/main" id="{479CB723-09AC-87C4-8BA2-BF0F91620BF8}"/>
              </a:ext>
            </a:extLst>
          </p:cNvPr>
          <p:cNvSpPr txBox="1"/>
          <p:nvPr/>
        </p:nvSpPr>
        <p:spPr>
          <a:xfrm>
            <a:off x="8006475" y="3475722"/>
            <a:ext cx="1266610" cy="1435708"/>
          </a:xfrm>
          <a:prstGeom prst="rect">
            <a:avLst/>
          </a:prstGeom>
          <a:noFill/>
          <a:ln>
            <a:noFill/>
          </a:ln>
        </p:spPr>
        <p:txBody>
          <a:bodyPr wrap="square" lIns="72000" tIns="72000" rIns="72000" bIns="72000">
            <a:noAutofit/>
          </a:bodyPr>
          <a:lstStyle>
            <a:defPPr>
              <a:defRPr lang="en-CZ"/>
            </a:defPPr>
            <a:lvl1pPr marL="285750" marR="0" lvl="0" indent="-285750" algn="just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Char char="§"/>
              <a:tabLst/>
              <a:defRPr kumimoji="0" sz="1000" i="0" u="none" strike="noStrike" cap="none" spc="0" normalizeH="0" baseline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láda vzala na vědomí průběh výběru dodavatele a záměru ČEZ získat podíl v RR SMR </a:t>
            </a:r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B5C9DEB2-C69A-D004-A749-13564A910B5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5642" y="309710"/>
            <a:ext cx="9521672" cy="1006245"/>
          </a:xfrm>
          <a:ln>
            <a:noFill/>
          </a:ln>
        </p:spPr>
        <p:txBody>
          <a:bodyPr/>
          <a:lstStyle/>
          <a:p>
            <a:r>
              <a:rPr lang="cs-CZ" sz="2400" dirty="0"/>
              <a:t>HLAVNÍ MILNÍKY VÝBĚRU TECHNOLOGICKÉHO PARTNERA</a:t>
            </a:r>
            <a:endParaRPr lang="cs-CZ" sz="2400" dirty="0">
              <a:solidFill>
                <a:schemeClr val="tx1"/>
              </a:solidFill>
            </a:endParaRPr>
          </a:p>
        </p:txBody>
      </p:sp>
      <p:sp>
        <p:nvSpPr>
          <p:cNvPr id="6" name="TextBox 22">
            <a:extLst>
              <a:ext uri="{FF2B5EF4-FFF2-40B4-BE49-F238E27FC236}">
                <a16:creationId xmlns:a16="http://schemas.microsoft.com/office/drawing/2014/main" id="{71010886-998C-58E3-9FB5-A1DD2D768D6E}"/>
              </a:ext>
            </a:extLst>
          </p:cNvPr>
          <p:cNvSpPr txBox="1">
            <a:spLocks/>
          </p:cNvSpPr>
          <p:nvPr/>
        </p:nvSpPr>
        <p:spPr>
          <a:xfrm>
            <a:off x="10823500" y="2583122"/>
            <a:ext cx="625171" cy="1692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C752"/>
              </a:buClr>
              <a:buSzPct val="110000"/>
              <a:buFont typeface="Wingdings" panose="05000000000000000000" pitchFamily="2" charset="2"/>
              <a:buChar char="§"/>
              <a:defRPr lang="en-US" sz="1600" dirty="0"/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600" dirty="0"/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lang="cs-CZ" sz="1100" b="1" dirty="0">
                <a:solidFill>
                  <a:srgbClr val="F24F00"/>
                </a:solidFill>
                <a:latin typeface="Arial"/>
              </a:rPr>
              <a:t>4</a:t>
            </a: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24F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3. 2025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24F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5" name="Straight Connector 41">
            <a:extLst>
              <a:ext uri="{FF2B5EF4-FFF2-40B4-BE49-F238E27FC236}">
                <a16:creationId xmlns:a16="http://schemas.microsoft.com/office/drawing/2014/main" id="{BC936CEA-8970-A453-3BD8-B675EA93E35E}"/>
              </a:ext>
            </a:extLst>
          </p:cNvPr>
          <p:cNvCxnSpPr>
            <a:cxnSpLocks/>
          </p:cNvCxnSpPr>
          <p:nvPr/>
        </p:nvCxnSpPr>
        <p:spPr>
          <a:xfrm>
            <a:off x="11112163" y="2798495"/>
            <a:ext cx="0" cy="1167364"/>
          </a:xfrm>
          <a:prstGeom prst="line">
            <a:avLst/>
          </a:prstGeom>
          <a:ln w="19050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15">
            <a:extLst>
              <a:ext uri="{FF2B5EF4-FFF2-40B4-BE49-F238E27FC236}">
                <a16:creationId xmlns:a16="http://schemas.microsoft.com/office/drawing/2014/main" id="{C246DF4F-AFFE-B866-B772-90D1E42665DB}"/>
              </a:ext>
            </a:extLst>
          </p:cNvPr>
          <p:cNvSpPr/>
          <p:nvPr/>
        </p:nvSpPr>
        <p:spPr>
          <a:xfrm>
            <a:off x="10435704" y="2915524"/>
            <a:ext cx="235364" cy="235360"/>
          </a:xfrm>
          <a:prstGeom prst="ellipse">
            <a:avLst/>
          </a:prstGeom>
          <a:solidFill>
            <a:srgbClr val="BFBFBF"/>
          </a:solidFill>
          <a:ln w="28575" cap="sq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Box 16">
            <a:extLst>
              <a:ext uri="{FF2B5EF4-FFF2-40B4-BE49-F238E27FC236}">
                <a16:creationId xmlns:a16="http://schemas.microsoft.com/office/drawing/2014/main" id="{EBD2766F-03E1-3812-93D0-68D1925FFEA3}"/>
              </a:ext>
            </a:extLst>
          </p:cNvPr>
          <p:cNvSpPr txBox="1">
            <a:spLocks/>
          </p:cNvSpPr>
          <p:nvPr/>
        </p:nvSpPr>
        <p:spPr>
          <a:xfrm>
            <a:off x="10387146" y="2583122"/>
            <a:ext cx="314189" cy="1692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C752"/>
              </a:buClr>
              <a:buSzPct val="110000"/>
              <a:buFont typeface="Wingdings" panose="05000000000000000000" pitchFamily="2" charset="2"/>
              <a:buChar char="§"/>
              <a:defRPr lang="en-US" sz="1600" dirty="0"/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600" dirty="0"/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5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06886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text 1">
            <a:extLst>
              <a:ext uri="{FF2B5EF4-FFF2-40B4-BE49-F238E27FC236}">
                <a16:creationId xmlns:a16="http://schemas.microsoft.com/office/drawing/2014/main" id="{A2040670-D2D2-BAF2-519C-A3848F1E9D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57120"/>
            <a:ext cx="10309971" cy="954107"/>
          </a:xfrm>
        </p:spPr>
        <p:txBody>
          <a:bodyPr/>
          <a:lstStyle/>
          <a:p>
            <a:r>
              <a:rPr lang="cs-CZ" sz="2400" dirty="0"/>
              <a:t>STRATEGICKOU INVESTICÍ DO ROLLS-ROYCE SMR UPEVŇUJE ČEZ SVOJI POZICI V EVROPSKÉ ENERGETICKÉ ŠPIČCE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9EAAC667-CC27-50E6-C41B-8677D6AC585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2063" y="909348"/>
            <a:ext cx="11383766" cy="4278472"/>
          </a:xfrm>
        </p:spPr>
        <p:txBody>
          <a:bodyPr/>
          <a:lstStyle/>
          <a:p>
            <a:pPr algn="l" rtl="0">
              <a:spcBef>
                <a:spcPts val="600"/>
              </a:spcBef>
              <a:spcAft>
                <a:spcPts val="600"/>
              </a:spcAft>
              <a:defRPr/>
            </a:pPr>
            <a:endParaRPr lang="cs-CZ" sz="1600" kern="1200" dirty="0"/>
          </a:p>
          <a:p>
            <a:pPr algn="l" rtl="0">
              <a:spcBef>
                <a:spcPts val="600"/>
              </a:spcBef>
              <a:spcAft>
                <a:spcPts val="600"/>
              </a:spcAft>
              <a:defRPr/>
            </a:pPr>
            <a:r>
              <a:rPr lang="cs-CZ" sz="1600" kern="1200" dirty="0"/>
              <a:t>V rámci investice ČEZ získá: </a:t>
            </a:r>
          </a:p>
          <a:p>
            <a:pPr lvl="1" algn="l" rtl="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cs-CZ" sz="1600" b="1" kern="1200" dirty="0"/>
              <a:t>Postavení</a:t>
            </a:r>
            <a:r>
              <a:rPr lang="cs-CZ" sz="1600" kern="1200" dirty="0"/>
              <a:t> </a:t>
            </a:r>
            <a:r>
              <a:rPr lang="cs-CZ" sz="1600" b="1" kern="1200" dirty="0"/>
              <a:t>největšího minoritního akcionáře a strategického partnera </a:t>
            </a:r>
            <a:r>
              <a:rPr lang="cs-CZ" sz="1600" kern="1200" dirty="0"/>
              <a:t>(významný vliv na směřování Rolls-Royce SMR)</a:t>
            </a:r>
          </a:p>
          <a:p>
            <a:pPr lvl="1" algn="l" rtl="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cs-CZ" sz="1600" kern="1200" dirty="0"/>
              <a:t>Podíl na technologii SMR určené k výstavbě nejen v ČR a vliv na její vývoj</a:t>
            </a:r>
          </a:p>
          <a:p>
            <a:pPr marL="457200" lvl="1" indent="0" algn="l" rtl="0">
              <a:spcBef>
                <a:spcPts val="600"/>
              </a:spcBef>
              <a:spcAft>
                <a:spcPts val="600"/>
              </a:spcAft>
              <a:buNone/>
              <a:defRPr/>
            </a:pPr>
            <a:endParaRPr lang="cs-CZ" sz="1000" kern="1200" dirty="0"/>
          </a:p>
          <a:p>
            <a:pPr algn="l" rtl="0">
              <a:spcBef>
                <a:spcPts val="600"/>
              </a:spcBef>
              <a:spcAft>
                <a:spcPts val="600"/>
              </a:spcAft>
              <a:defRPr/>
            </a:pPr>
            <a:r>
              <a:rPr lang="cs-CZ" sz="1600" kern="1200" dirty="0"/>
              <a:t>Strategické partnerství s RR SMR přinese:</a:t>
            </a:r>
          </a:p>
          <a:p>
            <a:pPr marL="800100" lvl="1" indent="-342900" algn="l" rtl="0">
              <a:spcBef>
                <a:spcPts val="600"/>
              </a:spcBef>
              <a:spcAft>
                <a:spcPts val="600"/>
              </a:spcAft>
              <a:buFont typeface="+mj-lt"/>
              <a:buAutoNum type="arabicParenR"/>
              <a:defRPr/>
            </a:pPr>
            <a:r>
              <a:rPr lang="cs-CZ" sz="1600" kern="1200" dirty="0"/>
              <a:t>Možnost významného </a:t>
            </a:r>
            <a:r>
              <a:rPr lang="cs-CZ" sz="1600" b="1" kern="1200" dirty="0"/>
              <a:t>zapojení lokálních firem do výstavby SMR v ČR</a:t>
            </a:r>
          </a:p>
          <a:p>
            <a:pPr marL="800100" lvl="1" indent="-342900" algn="l" rtl="0">
              <a:spcBef>
                <a:spcPts val="600"/>
              </a:spcBef>
              <a:spcAft>
                <a:spcPts val="600"/>
              </a:spcAft>
              <a:buFont typeface="+mj-lt"/>
              <a:buAutoNum type="arabicParenR"/>
              <a:defRPr/>
            </a:pPr>
            <a:r>
              <a:rPr lang="cs-CZ" sz="1600" kern="1200" dirty="0"/>
              <a:t>Exportní příležitosti a </a:t>
            </a:r>
            <a:r>
              <a:rPr lang="cs-CZ" sz="1600" b="1" kern="1200" dirty="0"/>
              <a:t>zapojení lokálních firem do globálního dodavatelského řetězce</a:t>
            </a:r>
          </a:p>
          <a:p>
            <a:pPr marL="800100" lvl="1" indent="-342900" algn="l" rtl="0">
              <a:spcBef>
                <a:spcPts val="600"/>
              </a:spcBef>
              <a:spcAft>
                <a:spcPts val="600"/>
              </a:spcAft>
              <a:buFont typeface="+mj-lt"/>
              <a:buAutoNum type="arabicParenR"/>
              <a:defRPr/>
            </a:pPr>
            <a:r>
              <a:rPr lang="cs-CZ" sz="1600" b="1" kern="1200" dirty="0"/>
              <a:t>Investice</a:t>
            </a:r>
            <a:r>
              <a:rPr lang="cs-CZ" sz="1600" kern="1200" dirty="0"/>
              <a:t> do výstavby továrny na výrobu modulů v ČR</a:t>
            </a:r>
          </a:p>
          <a:p>
            <a:pPr marL="800100" lvl="1" indent="-342900" algn="l" rtl="0">
              <a:spcBef>
                <a:spcPts val="600"/>
              </a:spcBef>
              <a:spcAft>
                <a:spcPts val="600"/>
              </a:spcAft>
              <a:buFont typeface="+mj-lt"/>
              <a:buAutoNum type="arabicParenR"/>
              <a:defRPr/>
            </a:pPr>
            <a:r>
              <a:rPr lang="cs-CZ" sz="1600" kern="1200" dirty="0"/>
              <a:t>Nová kvalifikovaná </a:t>
            </a:r>
            <a:r>
              <a:rPr lang="cs-CZ" sz="1600" b="1" kern="1200" dirty="0"/>
              <a:t>pracovní místa a potenciál zvýšení HDP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7EE63649-9138-673F-92BF-72D8D3934B50}"/>
              </a:ext>
            </a:extLst>
          </p:cNvPr>
          <p:cNvSpPr/>
          <p:nvPr/>
        </p:nvSpPr>
        <p:spPr>
          <a:xfrm>
            <a:off x="550862" y="5335431"/>
            <a:ext cx="10922001" cy="91870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ategické partnerství mezi ČEZ a Rolls-Royce SMR představuje příležitost navázání dlouhodobé spolupráce mezi vládami, výzkumem i dodavatelskými společnostmi přesahující projekty výstavby SMR.</a:t>
            </a:r>
          </a:p>
        </p:txBody>
      </p:sp>
    </p:spTree>
    <p:extLst>
      <p:ext uri="{BB962C8B-B14F-4D97-AF65-F5344CB8AC3E}">
        <p14:creationId xmlns:p14="http://schemas.microsoft.com/office/powerpoint/2010/main" val="41036373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D4DCDB98-7E78-89CE-8505-84B39F27E8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DCDB98-7E78-89CE-8505-84B39F27E8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ovéPole 6">
            <a:extLst>
              <a:ext uri="{FF2B5EF4-FFF2-40B4-BE49-F238E27FC236}">
                <a16:creationId xmlns:a16="http://schemas.microsoft.com/office/drawing/2014/main" id="{4D708BA3-CB08-D542-370A-16C1A299E45A}"/>
              </a:ext>
            </a:extLst>
          </p:cNvPr>
          <p:cNvSpPr txBox="1"/>
          <p:nvPr/>
        </p:nvSpPr>
        <p:spPr>
          <a:xfrm>
            <a:off x="656343" y="1245311"/>
            <a:ext cx="10765708" cy="2269413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txBody>
          <a:bodyPr wrap="square" lIns="108000" tIns="108000" rIns="108000" bIns="108000" anchor="ctr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vá pracovní místa – přibližně 8 000 pozic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ájem o technické obor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držení kvalifikované pracovní síly a její přilákání ze zahraničí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lný jaderný sektor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zice světového lídra v SMR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ůst HDP</a:t>
            </a:r>
          </a:p>
        </p:txBody>
      </p:sp>
      <p:sp>
        <p:nvSpPr>
          <p:cNvPr id="17" name="TextovéPole 6">
            <a:extLst>
              <a:ext uri="{FF2B5EF4-FFF2-40B4-BE49-F238E27FC236}">
                <a16:creationId xmlns:a16="http://schemas.microsoft.com/office/drawing/2014/main" id="{516CB12B-4683-4B60-1097-1A3EDE8CD706}"/>
              </a:ext>
            </a:extLst>
          </p:cNvPr>
          <p:cNvSpPr txBox="1"/>
          <p:nvPr/>
        </p:nvSpPr>
        <p:spPr>
          <a:xfrm>
            <a:off x="769951" y="1098062"/>
            <a:ext cx="2967860" cy="2821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C75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řínosy Programu SMR ČEZ</a:t>
            </a:r>
          </a:p>
        </p:txBody>
      </p:sp>
      <p:sp>
        <p:nvSpPr>
          <p:cNvPr id="2" name="Zástupný text 2">
            <a:extLst>
              <a:ext uri="{FF2B5EF4-FFF2-40B4-BE49-F238E27FC236}">
                <a16:creationId xmlns:a16="http://schemas.microsoft.com/office/drawing/2014/main" id="{94FB564C-21D9-3FCD-8592-A736FA7EEA98}"/>
              </a:ext>
            </a:extLst>
          </p:cNvPr>
          <p:cNvSpPr txBox="1">
            <a:spLocks/>
          </p:cNvSpPr>
          <p:nvPr/>
        </p:nvSpPr>
        <p:spPr>
          <a:xfrm>
            <a:off x="541337" y="223411"/>
            <a:ext cx="10225137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189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377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566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754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943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131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320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509" eaLnBrk="1" hangingPunct="1"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YCHLÉ ZAPOJENÍ SKUPINY ČEZ DO VÝVOJE A VÝSTAVBY SMR PŘINESE CELOU ŘADU EKONOMICKÝCH BENEFITŮ </a:t>
            </a:r>
            <a:endParaRPr kumimoji="0" lang="cs-CZ" sz="3600" b="0" i="0" u="none" strike="noStrike" kern="0" cap="none" spc="0" normalizeH="0" baseline="0" noProof="0" dirty="0">
              <a:ln>
                <a:noFill/>
              </a:ln>
              <a:solidFill>
                <a:srgbClr val="36373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1AB348F5-508B-3BFA-6B33-2D85CC033DA9}"/>
              </a:ext>
            </a:extLst>
          </p:cNvPr>
          <p:cNvSpPr txBox="1"/>
          <p:nvPr/>
        </p:nvSpPr>
        <p:spPr>
          <a:xfrm>
            <a:off x="660405" y="3705627"/>
            <a:ext cx="10871189" cy="25237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C75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gram SMR ČEZ přináší pozitivní lokální dopad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vestice do výrobních kapacit a významné 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apojení lokálního průmyslu do projektů SMR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d vývoje po ukončování provozu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žnost 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ýroby významných kompon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ajištění 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časné výstavby stabilních nízkouhlíkových elektráren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 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aplnění klimatických cílů EU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zvoj lokalit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visející s výstavbou SMR i výrobou komponent pro SMR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tivace studentů ke 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udiu technických předmětů a vytvoření nových pracovních mís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5934">
                  <a:lumMod val="75000"/>
                  <a:lumOff val="25000"/>
                </a:srgbClr>
              </a:buClr>
              <a:buSzPct val="12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ysoká koncentrace výroby energie na malé ploše – 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36373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nížení záborů zemědělské půdy </a:t>
            </a:r>
          </a:p>
        </p:txBody>
      </p:sp>
    </p:spTree>
    <p:extLst>
      <p:ext uri="{BB962C8B-B14F-4D97-AF65-F5344CB8AC3E}">
        <p14:creationId xmlns:p14="http://schemas.microsoft.com/office/powerpoint/2010/main" val="4936995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text 1">
            <a:extLst>
              <a:ext uri="{FF2B5EF4-FFF2-40B4-BE49-F238E27FC236}">
                <a16:creationId xmlns:a16="http://schemas.microsoft.com/office/drawing/2014/main" id="{4DE6B4AD-9F38-4A0D-1C48-277860235B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1235" y="2204864"/>
            <a:ext cx="7536963" cy="1439862"/>
          </a:xfrm>
        </p:spPr>
        <p:txBody>
          <a:bodyPr/>
          <a:lstStyle/>
          <a:p>
            <a:r>
              <a:rPr lang="cs-CZ" dirty="0">
                <a:solidFill>
                  <a:schemeClr val="tx1"/>
                </a:solidFill>
              </a:rPr>
              <a:t>DĚKUJI ZA POZORNOST</a:t>
            </a:r>
          </a:p>
          <a:p>
            <a:endParaRPr lang="cs-CZ" dirty="0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EE983735-9E63-FF05-C049-86772458C0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1384" y="4014689"/>
            <a:ext cx="5802282" cy="2320322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cs-CZ" b="1" dirty="0">
                <a:latin typeface="Arial"/>
                <a:cs typeface="Arial"/>
              </a:rPr>
              <a:t>Petr Pospíšil</a:t>
            </a:r>
          </a:p>
          <a:p>
            <a:pPr>
              <a:spcBef>
                <a:spcPts val="600"/>
              </a:spcBef>
            </a:pPr>
            <a:r>
              <a:rPr lang="cs-CZ" sz="1800" dirty="0">
                <a:latin typeface="Arial"/>
                <a:cs typeface="Arial"/>
              </a:rPr>
              <a:t>Útvar rozvoje SMR</a:t>
            </a:r>
          </a:p>
          <a:p>
            <a:pPr>
              <a:spcBef>
                <a:spcPts val="600"/>
              </a:spcBef>
            </a:pPr>
            <a:r>
              <a:rPr lang="cs-CZ" sz="1800" dirty="0">
                <a:latin typeface="Arial"/>
                <a:cs typeface="Arial"/>
              </a:rPr>
              <a:t>Divize nová energetika</a:t>
            </a:r>
          </a:p>
          <a:p>
            <a:pPr>
              <a:spcBef>
                <a:spcPts val="600"/>
              </a:spcBef>
            </a:pPr>
            <a:r>
              <a:rPr lang="cs-CZ" sz="1800" dirty="0">
                <a:latin typeface="Arial"/>
                <a:cs typeface="Arial"/>
              </a:rPr>
              <a:t>ČEZ, a. s.</a:t>
            </a:r>
          </a:p>
          <a:p>
            <a:pPr>
              <a:spcBef>
                <a:spcPts val="600"/>
              </a:spcBef>
            </a:pPr>
            <a:endParaRPr lang="cs-CZ" b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94749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0"/>
  <p:tag name="2LEVEL" val="5"/>
  <p:tag name="3LEVEL" val="2.5"/>
  <p:tag name="4LEVEL" val="1.25"/>
  <p:tag name="5LEVEL" val="0.6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 Office">
  <a:themeElements>
    <a:clrScheme name="CEZ">
      <a:dk1>
        <a:srgbClr val="FFFFFF"/>
      </a:dk1>
      <a:lt1>
        <a:srgbClr val="363738"/>
      </a:lt1>
      <a:dk2>
        <a:srgbClr val="F24F00"/>
      </a:dk2>
      <a:lt2>
        <a:srgbClr val="63666A"/>
      </a:lt2>
      <a:accent1>
        <a:srgbClr val="00C752"/>
      </a:accent1>
      <a:accent2>
        <a:srgbClr val="FF9C3D"/>
      </a:accent2>
      <a:accent3>
        <a:srgbClr val="FFDA9C"/>
      </a:accent3>
      <a:accent4>
        <a:srgbClr val="989EA3"/>
      </a:accent4>
      <a:accent5>
        <a:srgbClr val="005934"/>
      </a:accent5>
      <a:accent6>
        <a:srgbClr val="7FDB8F"/>
      </a:accent6>
      <a:hlink>
        <a:srgbClr val="363738"/>
      </a:hlink>
      <a:folHlink>
        <a:srgbClr val="363738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tandard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ablona BP_3.10.2022  -  Jen pro čtení" id="{BA268E07-2AAF-42B3-BA81-41FC1723CBD9}" vid="{51A39CCB-B2A6-45FA-B9BC-A97418EE13D5}"/>
    </a:ext>
  </a:extLst>
</a:theme>
</file>

<file path=ppt/theme/theme2.xml><?xml version="1.0" encoding="utf-8"?>
<a:theme xmlns:a="http://schemas.openxmlformats.org/drawingml/2006/main" name="1_Theme Office">
  <a:themeElements>
    <a:clrScheme name="CEZ">
      <a:dk1>
        <a:srgbClr val="FFFFFF"/>
      </a:dk1>
      <a:lt1>
        <a:srgbClr val="363738"/>
      </a:lt1>
      <a:dk2>
        <a:srgbClr val="F24F00"/>
      </a:dk2>
      <a:lt2>
        <a:srgbClr val="63666A"/>
      </a:lt2>
      <a:accent1>
        <a:srgbClr val="00C752"/>
      </a:accent1>
      <a:accent2>
        <a:srgbClr val="FF9C3D"/>
      </a:accent2>
      <a:accent3>
        <a:srgbClr val="FFDA9C"/>
      </a:accent3>
      <a:accent4>
        <a:srgbClr val="989EA3"/>
      </a:accent4>
      <a:accent5>
        <a:srgbClr val="005934"/>
      </a:accent5>
      <a:accent6>
        <a:srgbClr val="7FDB8F"/>
      </a:accent6>
      <a:hlink>
        <a:srgbClr val="363738"/>
      </a:hlink>
      <a:folHlink>
        <a:srgbClr val="363738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tandard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MM prezentace" id="{BF175114-F1E7-4E15-800B-2CEBE440DE8B}" vid="{0A04239E-1228-47CD-A8E2-231F029DCED9}"/>
    </a:ext>
  </a:extLst>
</a:theme>
</file>

<file path=ppt/theme/theme3.xml><?xml version="1.0" encoding="utf-8"?>
<a:theme xmlns:a="http://schemas.openxmlformats.org/drawingml/2006/main" name="2_Theme Office">
  <a:themeElements>
    <a:clrScheme name="CEZ">
      <a:dk1>
        <a:srgbClr val="FFFFFF"/>
      </a:dk1>
      <a:lt1>
        <a:srgbClr val="363738"/>
      </a:lt1>
      <a:dk2>
        <a:srgbClr val="F24F00"/>
      </a:dk2>
      <a:lt2>
        <a:srgbClr val="63666A"/>
      </a:lt2>
      <a:accent1>
        <a:srgbClr val="00C752"/>
      </a:accent1>
      <a:accent2>
        <a:srgbClr val="FF9C3D"/>
      </a:accent2>
      <a:accent3>
        <a:srgbClr val="FFDA9C"/>
      </a:accent3>
      <a:accent4>
        <a:srgbClr val="989EA3"/>
      </a:accent4>
      <a:accent5>
        <a:srgbClr val="005934"/>
      </a:accent5>
      <a:accent6>
        <a:srgbClr val="7FDB8F"/>
      </a:accent6>
      <a:hlink>
        <a:srgbClr val="363738"/>
      </a:hlink>
      <a:folHlink>
        <a:srgbClr val="363738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tandard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3175">
          <a:noFill/>
        </a:ln>
      </a:spPr>
      <a:bodyPr rtlCol="0" anchor="ctr"/>
      <a:lstStyle>
        <a:defPPr algn="ctr">
          <a:defRPr sz="120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CEZ_CZ" id="{EFEED11E-C385-4F5C-B353-96AEF8CB7231}" vid="{50FE5C02-4EBC-490E-908E-06B74B37C8A9}"/>
    </a:ext>
  </a:extLst>
</a:theme>
</file>

<file path=ppt/theme/theme4.xml><?xml version="1.0" encoding="utf-8"?>
<a:theme xmlns:a="http://schemas.openxmlformats.org/drawingml/2006/main" name="3_Theme Office">
  <a:themeElements>
    <a:clrScheme name="CEZ">
      <a:dk1>
        <a:srgbClr val="FFFFFF"/>
      </a:dk1>
      <a:lt1>
        <a:srgbClr val="363738"/>
      </a:lt1>
      <a:dk2>
        <a:srgbClr val="F24F00"/>
      </a:dk2>
      <a:lt2>
        <a:srgbClr val="63666A"/>
      </a:lt2>
      <a:accent1>
        <a:srgbClr val="00C752"/>
      </a:accent1>
      <a:accent2>
        <a:srgbClr val="FF9C3D"/>
      </a:accent2>
      <a:accent3>
        <a:srgbClr val="FFDA9C"/>
      </a:accent3>
      <a:accent4>
        <a:srgbClr val="989EA3"/>
      </a:accent4>
      <a:accent5>
        <a:srgbClr val="005934"/>
      </a:accent5>
      <a:accent6>
        <a:srgbClr val="7FDB8F"/>
      </a:accent6>
      <a:hlink>
        <a:srgbClr val="363738"/>
      </a:hlink>
      <a:folHlink>
        <a:srgbClr val="363738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tandard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EZ_CZ" id="{EFEED11E-C385-4F5C-B353-96AEF8CB7231}" vid="{50FE5C02-4EBC-490E-908E-06B74B37C8A9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68BBCDCCEEF854893DA5B9327BD1C47" ma:contentTypeVersion="28" ma:contentTypeDescription="Vytvoří nový dokument" ma:contentTypeScope="" ma:versionID="83b9cbe520ad44c0b4ca0988a36aa1ea">
  <xsd:schema xmlns:xsd="http://www.w3.org/2001/XMLSchema" xmlns:xs="http://www.w3.org/2001/XMLSchema" xmlns:p="http://schemas.microsoft.com/office/2006/metadata/properties" xmlns:ns2="0274f276-4367-435b-9770-a02c9f07a37f" xmlns:ns3="afa6ef06-916f-4efb-b7d9-62516b048770" targetNamespace="http://schemas.microsoft.com/office/2006/metadata/properties" ma:root="true" ma:fieldsID="445879760b5e6392e55834c7e4046781" ns2:_="" ns3:_="">
    <xsd:import namespace="0274f276-4367-435b-9770-a02c9f07a37f"/>
    <xsd:import namespace="afa6ef06-916f-4efb-b7d9-62516b048770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3:TaxCatchAll" minOccurs="0"/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ObjectDetectorVersions" minOccurs="0"/>
                <xsd:element ref="ns2:MediaLengthInSeconds" minOccurs="0"/>
                <xsd:element ref="ns2:_Flow_SignoffStatus" minOccurs="0"/>
                <xsd:element ref="ns2:Koment_x00e1__x0159_" minOccurs="0"/>
                <xsd:element ref="ns2:Vedouc_x00ed_PP" minOccurs="0"/>
                <xsd:element ref="ns2:MediaServiceSearchProperties" minOccurs="0"/>
                <xsd:element ref="ns2:Extern_x011b_sd_x00ed_lenos" minOccurs="0"/>
                <xsd:element ref="ns2:Koment_x00e1__x0159_0" minOccurs="0"/>
                <xsd:element ref="ns2:T_x00e9_ma" minOccurs="0"/>
                <xsd:element ref="ns2:Podt_x00e9_ma" minOccurs="0"/>
                <xsd:element ref="ns2:datum" minOccurs="0"/>
                <xsd:element ref="ns2:MediaServiceLocation" minOccurs="0"/>
                <xsd:element ref="ns2:Lokalita" minOccurs="0"/>
                <xsd:element ref="ns2:Dodavate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74f276-4367-435b-9770-a02c9f07a37f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Značky obrázků" ma:readOnly="false" ma:fieldId="{5cf76f15-5ced-4ddc-b409-7134ff3c332f}" ma:taxonomyMulti="true" ma:sspId="e1151224-86ec-40a8-ba2f-293eb4cb0ab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_Flow_SignoffStatus" ma:index="21" nillable="true" ma:displayName="Stav dokumentu" ma:format="Dropdown" ma:internalName="Stav_x0020_odsouhlasen_x00ed_">
      <xsd:complexType>
        <xsd:complexContent>
          <xsd:extension base="dms:MultiChoiceFillIn">
            <xsd:sequence>
              <xsd:element name="Value" maxOccurs="unbounded" minOccurs="0" nillable="true">
                <xsd:simpleType>
                  <xsd:union memberTypes="dms:Text">
                    <xsd:simpleType>
                      <xsd:restriction base="dms:Choice">
                        <xsd:enumeration value="Draft"/>
                        <xsd:enumeration value="Final"/>
                        <xsd:enumeration value="Místo pravdy"/>
                        <xsd:enumeration value="Aktivní"/>
                        <xsd:enumeration value="Neaktivní"/>
                        <xsd:enumeration value="Uzavřeno"/>
                      </xsd:restriction>
                    </xsd:simpleType>
                  </xsd:union>
                </xsd:simpleType>
              </xsd:element>
            </xsd:sequence>
          </xsd:extension>
        </xsd:complexContent>
      </xsd:complexType>
    </xsd:element>
    <xsd:element name="Koment_x00e1__x0159_" ma:index="22" nillable="true" ma:displayName="Komentář ČEZ" ma:description="Vyplnit po zkontrolování stav" ma:format="Dropdown" ma:internalName="Koment_x00e1__x0159_">
      <xsd:simpleType>
        <xsd:restriction base="dms:Note">
          <xsd:maxLength value="255"/>
        </xsd:restriction>
      </xsd:simpleType>
    </xsd:element>
    <xsd:element name="Vedouc_x00ed_PP" ma:index="23" nillable="true" ma:displayName="Zodpovědná osoba" ma:format="Dropdown" ma:list="UserInfo" ma:SharePointGroup="0" ma:internalName="Vedouc_x00ed_PP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Extern_x011b_sd_x00ed_lenos" ma:index="25" nillable="true" ma:displayName="Externě sdíleno s" ma:format="Dropdown" ma:list="UserInfo" ma:SharePointGroup="0" ma:internalName="Extern_x011b_sd_x00ed_lenos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Koment_x00e1__x0159_0" ma:index="26" nillable="true" ma:displayName="Komentář od EGP" ma:description="Vyplnit zapracování připomínek" ma:format="Dropdown" ma:internalName="Koment_x00e1__x0159_0">
      <xsd:simpleType>
        <xsd:restriction base="dms:Note">
          <xsd:maxLength value="255"/>
        </xsd:restriction>
      </xsd:simpleType>
    </xsd:element>
    <xsd:element name="T_x00e9_ma" ma:index="27" nillable="true" ma:displayName="Téma" ma:format="Dropdown" ma:internalName="T_x00e9_ma">
      <xsd:simpleType>
        <xsd:restriction base="dms:Text">
          <xsd:maxLength value="255"/>
        </xsd:restriction>
      </xsd:simpleType>
    </xsd:element>
    <xsd:element name="Podt_x00e9_ma" ma:index="28" nillable="true" ma:displayName="Podtéma" ma:format="Dropdown" ma:internalName="Podt_x00e9_ma">
      <xsd:simpleType>
        <xsd:restriction base="dms:Text">
          <xsd:maxLength value="255"/>
        </xsd:restriction>
      </xsd:simpleType>
    </xsd:element>
    <xsd:element name="datum" ma:index="29" nillable="true" ma:displayName="datum" ma:format="DateOnly" ma:internalName="datum">
      <xsd:simpleType>
        <xsd:restriction base="dms:DateTime"/>
      </xsd:simpleType>
    </xsd:element>
    <xsd:element name="MediaServiceLocation" ma:index="30" nillable="true" ma:displayName="Location" ma:indexed="true" ma:internalName="MediaServiceLocation" ma:readOnly="true">
      <xsd:simpleType>
        <xsd:restriction base="dms:Text"/>
      </xsd:simpleType>
    </xsd:element>
    <xsd:element name="Lokalita" ma:index="31" nillable="true" ma:displayName="Lokalita" ma:format="Dropdown" ma:internalName="Lokalita">
      <xsd:simpleType>
        <xsd:union memberTypes="dms:Text">
          <xsd:simpleType>
            <xsd:restriction base="dms:Choice">
              <xsd:enumeration value="ETE"/>
              <xsd:enumeration value="ETU"/>
              <xsd:enumeration value="EDE"/>
            </xsd:restriction>
          </xsd:simpleType>
        </xsd:union>
      </xsd:simpleType>
    </xsd:element>
    <xsd:element name="Dodavatel" ma:index="32" nillable="true" ma:displayName="Dodavatel" ma:format="Dropdown" ma:internalName="Dodavatel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fa6ef06-916f-4efb-b7d9-62516b048770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703a8f8a-1393-4db3-b103-30c65df452b7}" ma:internalName="TaxCatchAll" ma:showField="CatchAllData" ma:web="afa6ef06-916f-4efb-b7d9-62516b04877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Sdílí se s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dílené s podrobnostmi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Flow_SignoffStatus xmlns="0274f276-4367-435b-9770-a02c9f07a37f" xsi:nil="true"/>
    <lcf76f155ced4ddcb4097134ff3c332f xmlns="0274f276-4367-435b-9770-a02c9f07a37f">
      <Terms xmlns="http://schemas.microsoft.com/office/infopath/2007/PartnerControls"/>
    </lcf76f155ced4ddcb4097134ff3c332f>
    <TaxCatchAll xmlns="afa6ef06-916f-4efb-b7d9-62516b048770" xsi:nil="true"/>
    <T_x00e9_ma xmlns="0274f276-4367-435b-9770-a02c9f07a37f" xsi:nil="true"/>
    <Koment_x00e1__x0159_0 xmlns="0274f276-4367-435b-9770-a02c9f07a37f" xsi:nil="true"/>
    <Podt_x00e9_ma xmlns="0274f276-4367-435b-9770-a02c9f07a37f" xsi:nil="true"/>
    <datum xmlns="0274f276-4367-435b-9770-a02c9f07a37f" xsi:nil="true"/>
    <Extern_x011b_sd_x00ed_lenos xmlns="0274f276-4367-435b-9770-a02c9f07a37f">
      <UserInfo>
        <DisplayName/>
        <AccountId xsi:nil="true"/>
        <AccountType/>
      </UserInfo>
    </Extern_x011b_sd_x00ed_lenos>
    <Dodavatel xmlns="0274f276-4367-435b-9770-a02c9f07a37f" xsi:nil="true"/>
    <Lokalita xmlns="0274f276-4367-435b-9770-a02c9f07a37f" xsi:nil="true"/>
    <Koment_x00e1__x0159_ xmlns="0274f276-4367-435b-9770-a02c9f07a37f" xsi:nil="true"/>
    <Vedouc_x00ed_PP xmlns="0274f276-4367-435b-9770-a02c9f07a37f">
      <UserInfo>
        <DisplayName/>
        <AccountId xsi:nil="true"/>
        <AccountType/>
      </UserInfo>
    </Vedouc_x00ed_PP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87A2FA7-F483-407E-BC35-8BDE7EC4B07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74f276-4367-435b-9770-a02c9f07a37f"/>
    <ds:schemaRef ds:uri="afa6ef06-916f-4efb-b7d9-62516b04877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4CF1CEF-0986-4FC1-882E-B4267C5BEA6E}">
  <ds:schemaRefs>
    <ds:schemaRef ds:uri="afa6ef06-916f-4efb-b7d9-62516b048770"/>
    <ds:schemaRef ds:uri="http://schemas.microsoft.com/office/2006/metadata/properties"/>
    <ds:schemaRef ds:uri="http://purl.org/dc/dcmitype/"/>
    <ds:schemaRef ds:uri="http://schemas.microsoft.com/office/infopath/2007/PartnerControls"/>
    <ds:schemaRef ds:uri="http://purl.org/dc/terms/"/>
    <ds:schemaRef ds:uri="http://schemas.microsoft.com/office/2006/documentManagement/types"/>
    <ds:schemaRef ds:uri="0274f276-4367-435b-9770-a02c9f07a37f"/>
    <ds:schemaRef ds:uri="http://schemas.openxmlformats.org/package/2006/metadata/core-properties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DA5387EF-F0EE-4E06-93D5-09A46FFFC78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66</TotalTime>
  <Words>661</Words>
  <Application>Microsoft Office PowerPoint</Application>
  <PresentationFormat>Širokoúhlá obrazovka</PresentationFormat>
  <Paragraphs>116</Paragraphs>
  <Slides>8</Slides>
  <Notes>1</Notes>
  <HiddenSlides>0</HiddenSlides>
  <MMClips>0</MMClips>
  <ScaleCrop>false</ScaleCrop>
  <HeadingPairs>
    <vt:vector size="8" baseType="variant">
      <vt:variant>
        <vt:lpstr>Použitá písma</vt:lpstr>
      </vt:variant>
      <vt:variant>
        <vt:i4>6</vt:i4>
      </vt:variant>
      <vt:variant>
        <vt:lpstr>Motiv</vt:lpstr>
      </vt:variant>
      <vt:variant>
        <vt:i4>4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8</vt:i4>
      </vt:variant>
    </vt:vector>
  </HeadingPairs>
  <TitlesOfParts>
    <vt:vector size="19" baseType="lpstr">
      <vt:lpstr>Arial</vt:lpstr>
      <vt:lpstr>Tahoma</vt:lpstr>
      <vt:lpstr>Segoe UI</vt:lpstr>
      <vt:lpstr>Calibri</vt:lpstr>
      <vt:lpstr>Wingdings 2</vt:lpstr>
      <vt:lpstr>Wingdings</vt:lpstr>
      <vt:lpstr>Theme Office</vt:lpstr>
      <vt:lpstr>1_Theme Office</vt:lpstr>
      <vt:lpstr>2_Theme Office</vt:lpstr>
      <vt:lpstr>3_Theme Office</vt:lpstr>
      <vt:lpstr>think-cell Slide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Líman Jakub</dc:creator>
  <cp:lastModifiedBy>Pospíšil Petr</cp:lastModifiedBy>
  <cp:revision>8</cp:revision>
  <dcterms:created xsi:type="dcterms:W3CDTF">2023-09-06T09:01:10Z</dcterms:created>
  <dcterms:modified xsi:type="dcterms:W3CDTF">2025-04-09T06:43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68BBCDCCEEF854893DA5B9327BD1C47</vt:lpwstr>
  </property>
  <property fmtid="{D5CDD505-2E9C-101B-9397-08002B2CF9AE}" pid="3" name="MSIP_Label_e83b9d3f-f536-4704-9fa1-8d022f32e6bb_Enabled">
    <vt:lpwstr>true</vt:lpwstr>
  </property>
  <property fmtid="{D5CDD505-2E9C-101B-9397-08002B2CF9AE}" pid="4" name="MSIP_Label_e83b9d3f-f536-4704-9fa1-8d022f32e6bb_SetDate">
    <vt:lpwstr>2023-09-04T16:45:00Z</vt:lpwstr>
  </property>
  <property fmtid="{D5CDD505-2E9C-101B-9397-08002B2CF9AE}" pid="5" name="MSIP_Label_e83b9d3f-f536-4704-9fa1-8d022f32e6bb_Method">
    <vt:lpwstr>Privileged</vt:lpwstr>
  </property>
  <property fmtid="{D5CDD505-2E9C-101B-9397-08002B2CF9AE}" pid="6" name="MSIP_Label_e83b9d3f-f536-4704-9fa1-8d022f32e6bb_Name">
    <vt:lpwstr>L00100</vt:lpwstr>
  </property>
  <property fmtid="{D5CDD505-2E9C-101B-9397-08002B2CF9AE}" pid="7" name="MSIP_Label_e83b9d3f-f536-4704-9fa1-8d022f32e6bb_SiteId">
    <vt:lpwstr>b233f9e1-5599-4693-9cef-38858fe25406</vt:lpwstr>
  </property>
  <property fmtid="{D5CDD505-2E9C-101B-9397-08002B2CF9AE}" pid="8" name="MSIP_Label_e83b9d3f-f536-4704-9fa1-8d022f32e6bb_ActionId">
    <vt:lpwstr>e3da0da5-6240-48bc-9060-527ef100352e</vt:lpwstr>
  </property>
  <property fmtid="{D5CDD505-2E9C-101B-9397-08002B2CF9AE}" pid="9" name="MSIP_Label_e83b9d3f-f536-4704-9fa1-8d022f32e6bb_ContentBits">
    <vt:lpwstr>0</vt:lpwstr>
  </property>
  <property fmtid="{D5CDD505-2E9C-101B-9397-08002B2CF9AE}" pid="10" name="DocumentClasification">
    <vt:lpwstr>Veřejné</vt:lpwstr>
  </property>
  <property fmtid="{D5CDD505-2E9C-101B-9397-08002B2CF9AE}" pid="11" name="CEZ_DLP">
    <vt:lpwstr>CEZ:CEZ-DJE:D</vt:lpwstr>
  </property>
  <property fmtid="{D5CDD505-2E9C-101B-9397-08002B2CF9AE}" pid="12" name="CEZ_MIPLabelName">
    <vt:lpwstr>Public-CEZ-DJE</vt:lpwstr>
  </property>
  <property fmtid="{D5CDD505-2E9C-101B-9397-08002B2CF9AE}" pid="13" name="MediaServiceImageTags">
    <vt:lpwstr/>
  </property>
</Properties>
</file>